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xml" ContentType="application/vnd.openxmlformats-officedocument.drawingml.chart+xml"/>
  <Override PartName="/ppt/charts/chart480.xml" ContentType="application/vnd.openxmlformats-officedocument.drawingml.chart+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xml" ContentType="application/vnd.openxmlformats-officedocument.drawingml.chart+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charts/chart529.xml" ContentType="application/vnd.openxmlformats-officedocument.drawingml.chart+xml"/>
  <Override PartName="/ppt/charts/chart53.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charts/chart537.xml" ContentType="application/vnd.openxmlformats-officedocument.drawingml.chart+xml"/>
  <Override PartName="/ppt/charts/chart538.xml" ContentType="application/vnd.openxmlformats-officedocument.drawingml.chart+xml"/>
  <Override PartName="/ppt/charts/chart539.xml" ContentType="application/vnd.openxmlformats-officedocument.drawingml.chart+xml"/>
  <Override PartName="/ppt/charts/chart54.xml" ContentType="application/vnd.openxmlformats-officedocument.drawingml.chart+xml"/>
  <Override PartName="/ppt/charts/chart540.xml" ContentType="application/vnd.openxmlformats-officedocument.drawingml.chart+xml"/>
  <Override PartName="/ppt/charts/chart541.xml" ContentType="application/vnd.openxmlformats-officedocument.drawingml.chart+xml"/>
  <Override PartName="/ppt/charts/chart542.xml" ContentType="application/vnd.openxmlformats-officedocument.drawingml.chart+xml"/>
  <Override PartName="/ppt/charts/chart543.xml" ContentType="application/vnd.openxmlformats-officedocument.drawingml.chart+xml"/>
  <Override PartName="/ppt/charts/chart544.xml" ContentType="application/vnd.openxmlformats-officedocument.drawingml.chart+xml"/>
  <Override PartName="/ppt/charts/chart545.xml" ContentType="application/vnd.openxmlformats-officedocument.drawingml.chart+xml"/>
  <Override PartName="/ppt/charts/chart546.xml" ContentType="application/vnd.openxmlformats-officedocument.drawingml.chart+xml"/>
  <Override PartName="/ppt/charts/chart547.xml" ContentType="application/vnd.openxmlformats-officedocument.drawingml.chart+xml"/>
  <Override PartName="/ppt/charts/chart548.xml" ContentType="application/vnd.openxmlformats-officedocument.drawingml.chart+xml"/>
  <Override PartName="/ppt/charts/chart549.xml" ContentType="application/vnd.openxmlformats-officedocument.drawingml.chart+xml"/>
  <Override PartName="/ppt/charts/chart55.xml" ContentType="application/vnd.openxmlformats-officedocument.drawingml.chart+xml"/>
  <Override PartName="/ppt/charts/chart550.xml" ContentType="application/vnd.openxmlformats-officedocument.drawingml.chart+xml"/>
  <Override PartName="/ppt/charts/chart551.xml" ContentType="application/vnd.openxmlformats-officedocument.drawingml.chart+xml"/>
  <Override PartName="/ppt/charts/chart552.xml" ContentType="application/vnd.openxmlformats-officedocument.drawingml.chart+xml"/>
  <Override PartName="/ppt/charts/chart553.xml" ContentType="application/vnd.openxmlformats-officedocument.drawingml.chart+xml"/>
  <Override PartName="/ppt/charts/chart554.xml" ContentType="application/vnd.openxmlformats-officedocument.drawingml.chart+xml"/>
  <Override PartName="/ppt/charts/chart555.xml" ContentType="application/vnd.openxmlformats-officedocument.drawingml.chart+xml"/>
  <Override PartName="/ppt/charts/chart556.xml" ContentType="application/vnd.openxmlformats-officedocument.drawingml.chart+xml"/>
  <Override PartName="/ppt/charts/chart557.xml" ContentType="application/vnd.openxmlformats-officedocument.drawingml.chart+xml"/>
  <Override PartName="/ppt/charts/chart558.xml" ContentType="application/vnd.openxmlformats-officedocument.drawingml.chart+xml"/>
  <Override PartName="/ppt/charts/chart559.xml" ContentType="application/vnd.openxmlformats-officedocument.drawingml.chart+xml"/>
  <Override PartName="/ppt/charts/chart56.xml" ContentType="application/vnd.openxmlformats-officedocument.drawingml.chart+xml"/>
  <Override PartName="/ppt/charts/chart560.xml" ContentType="application/vnd.openxmlformats-officedocument.drawingml.chart+xml"/>
  <Override PartName="/ppt/charts/chart561.xml" ContentType="application/vnd.openxmlformats-officedocument.drawingml.chart+xml"/>
  <Override PartName="/ppt/charts/chart562.xml" ContentType="application/vnd.openxmlformats-officedocument.drawingml.chart+xml"/>
  <Override PartName="/ppt/charts/chart563.xml" ContentType="application/vnd.openxmlformats-officedocument.drawingml.chart+xml"/>
  <Override PartName="/ppt/charts/chart564.xml" ContentType="application/vnd.openxmlformats-officedocument.drawingml.chart+xml"/>
  <Override PartName="/ppt/charts/chart565.xml" ContentType="application/vnd.openxmlformats-officedocument.drawingml.chart+xml"/>
  <Override PartName="/ppt/charts/chart566.xml" ContentType="application/vnd.openxmlformats-officedocument.drawingml.chart+xml"/>
  <Override PartName="/ppt/charts/chart567.xml" ContentType="application/vnd.openxmlformats-officedocument.drawingml.chart+xml"/>
  <Override PartName="/ppt/charts/chart568.xml" ContentType="application/vnd.openxmlformats-officedocument.drawingml.chart+xml"/>
  <Override PartName="/ppt/charts/chart569.xml" ContentType="application/vnd.openxmlformats-officedocument.drawingml.chart+xml"/>
  <Override PartName="/ppt/charts/chart57.xml" ContentType="application/vnd.openxmlformats-officedocument.drawingml.chart+xml"/>
  <Override PartName="/ppt/charts/chart570.xml" ContentType="application/vnd.openxmlformats-officedocument.drawingml.chart+xml"/>
  <Override PartName="/ppt/charts/chart571.xml" ContentType="application/vnd.openxmlformats-officedocument.drawingml.chart+xml"/>
  <Override PartName="/ppt/charts/chart572.xml" ContentType="application/vnd.openxmlformats-officedocument.drawingml.chart+xml"/>
  <Override PartName="/ppt/charts/chart573.xml" ContentType="application/vnd.openxmlformats-officedocument.drawingml.chart+xml"/>
  <Override PartName="/ppt/charts/chart574.xml" ContentType="application/vnd.openxmlformats-officedocument.drawingml.chart+xml"/>
  <Override PartName="/ppt/charts/chart575.xml" ContentType="application/vnd.openxmlformats-officedocument.drawingml.chart+xml"/>
  <Override PartName="/ppt/charts/chart576.xml" ContentType="application/vnd.openxmlformats-officedocument.drawingml.chart+xml"/>
  <Override PartName="/ppt/charts/chart577.xml" ContentType="application/vnd.openxmlformats-officedocument.drawingml.chart+xml"/>
  <Override PartName="/ppt/charts/chart578.xml" ContentType="application/vnd.openxmlformats-officedocument.drawingml.chart+xml"/>
  <Override PartName="/ppt/charts/chart579.xml" ContentType="application/vnd.openxmlformats-officedocument.drawingml.chart+xml"/>
  <Override PartName="/ppt/charts/chart58.xml" ContentType="application/vnd.openxmlformats-officedocument.drawingml.chart+xml"/>
  <Override PartName="/ppt/charts/chart580.xml" ContentType="application/vnd.openxmlformats-officedocument.drawingml.chart+xml"/>
  <Override PartName="/ppt/charts/chart581.xml" ContentType="application/vnd.openxmlformats-officedocument.drawingml.chart+xml"/>
  <Override PartName="/ppt/charts/chart582.xml" ContentType="application/vnd.openxmlformats-officedocument.drawingml.chart+xml"/>
  <Override PartName="/ppt/charts/chart583.xml" ContentType="application/vnd.openxmlformats-officedocument.drawingml.chart+xml"/>
  <Override PartName="/ppt/charts/chart584.xml" ContentType="application/vnd.openxmlformats-officedocument.drawingml.chart+xml"/>
  <Override PartName="/ppt/charts/chart585.xml" ContentType="application/vnd.openxmlformats-officedocument.drawingml.chart+xml"/>
  <Override PartName="/ppt/charts/chart586.xml" ContentType="application/vnd.openxmlformats-officedocument.drawingml.chart+xml"/>
  <Override PartName="/ppt/charts/chart587.xml" ContentType="application/vnd.openxmlformats-officedocument.drawingml.chart+xml"/>
  <Override PartName="/ppt/charts/chart588.xml" ContentType="application/vnd.openxmlformats-officedocument.drawingml.chart+xml"/>
  <Override PartName="/ppt/charts/chart589.xml" ContentType="application/vnd.openxmlformats-officedocument.drawingml.chart+xml"/>
  <Override PartName="/ppt/charts/chart59.xml" ContentType="application/vnd.openxmlformats-officedocument.drawingml.chart+xml"/>
  <Override PartName="/ppt/charts/chart590.xml" ContentType="application/vnd.openxmlformats-officedocument.drawingml.chart+xml"/>
  <Override PartName="/ppt/charts/chart591.xml" ContentType="application/vnd.openxmlformats-officedocument.drawingml.chart+xml"/>
  <Override PartName="/ppt/charts/chart592.xml" ContentType="application/vnd.openxmlformats-officedocument.drawingml.chart+xml"/>
  <Override PartName="/ppt/charts/chart593.xml" ContentType="application/vnd.openxmlformats-officedocument.drawingml.chart+xml"/>
  <Override PartName="/ppt/charts/chart594.xml" ContentType="application/vnd.openxmlformats-officedocument.drawingml.chart+xml"/>
  <Override PartName="/ppt/charts/chart595.xml" ContentType="application/vnd.openxmlformats-officedocument.drawingml.chart+xml"/>
  <Override PartName="/ppt/charts/chart596.xml" ContentType="application/vnd.openxmlformats-officedocument.drawingml.chart+xml"/>
  <Override PartName="/ppt/charts/chart597.xml" ContentType="application/vnd.openxmlformats-officedocument.drawingml.chart+xml"/>
  <Override PartName="/ppt/charts/chart598.xml" ContentType="application/vnd.openxmlformats-officedocument.drawingml.chart+xml"/>
  <Override PartName="/ppt/charts/chart59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00.xml" ContentType="application/vnd.openxmlformats-officedocument.drawingml.chart+xml"/>
  <Override PartName="/ppt/charts/chart601.xml" ContentType="application/vnd.openxmlformats-officedocument.drawingml.chart+xml"/>
  <Override PartName="/ppt/charts/chart602.xml" ContentType="application/vnd.openxmlformats-officedocument.drawingml.chart+xml"/>
  <Override PartName="/ppt/charts/chart603.xml" ContentType="application/vnd.openxmlformats-officedocument.drawingml.chart+xml"/>
  <Override PartName="/ppt/charts/chart604.xml" ContentType="application/vnd.openxmlformats-officedocument.drawingml.chart+xml"/>
  <Override PartName="/ppt/charts/chart605.xml" ContentType="application/vnd.openxmlformats-officedocument.drawingml.chart+xml"/>
  <Override PartName="/ppt/charts/chart606.xml" ContentType="application/vnd.openxmlformats-officedocument.drawingml.chart+xml"/>
  <Override PartName="/ppt/charts/chart607.xml" ContentType="application/vnd.openxmlformats-officedocument.drawingml.chart+xml"/>
  <Override PartName="/ppt/charts/chart608.xml" ContentType="application/vnd.openxmlformats-officedocument.drawingml.chart+xml"/>
  <Override PartName="/ppt/charts/chart609.xml" ContentType="application/vnd.openxmlformats-officedocument.drawingml.chart+xml"/>
  <Override PartName="/ppt/charts/chart61.xml" ContentType="application/vnd.openxmlformats-officedocument.drawingml.chart+xml"/>
  <Override PartName="/ppt/charts/chart610.xml" ContentType="application/vnd.openxmlformats-officedocument.drawingml.chart+xml"/>
  <Override PartName="/ppt/charts/chart611.xml" ContentType="application/vnd.openxmlformats-officedocument.drawingml.chart+xml"/>
  <Override PartName="/ppt/charts/chart612.xml" ContentType="application/vnd.openxmlformats-officedocument.drawingml.chart+xml"/>
  <Override PartName="/ppt/charts/chart613.xml" ContentType="application/vnd.openxmlformats-officedocument.drawingml.chart+xml"/>
  <Override PartName="/ppt/charts/chart614.xml" ContentType="application/vnd.openxmlformats-officedocument.drawingml.chart+xml"/>
  <Override PartName="/ppt/charts/chart615.xml" ContentType="application/vnd.openxmlformats-officedocument.drawingml.chart+xml"/>
  <Override PartName="/ppt/charts/chart616.xml" ContentType="application/vnd.openxmlformats-officedocument.drawingml.chart+xml"/>
  <Override PartName="/ppt/charts/chart617.xml" ContentType="application/vnd.openxmlformats-officedocument.drawingml.chart+xml"/>
  <Override PartName="/ppt/charts/chart618.xml" ContentType="application/vnd.openxmlformats-officedocument.drawingml.chart+xml"/>
  <Override PartName="/ppt/charts/chart619.xml" ContentType="application/vnd.openxmlformats-officedocument.drawingml.chart+xml"/>
  <Override PartName="/ppt/charts/chart62.xml" ContentType="application/vnd.openxmlformats-officedocument.drawingml.chart+xml"/>
  <Override PartName="/ppt/charts/chart620.xml" ContentType="application/vnd.openxmlformats-officedocument.drawingml.chart+xml"/>
  <Override PartName="/ppt/charts/chart621.xml" ContentType="application/vnd.openxmlformats-officedocument.drawingml.chart+xml"/>
  <Override PartName="/ppt/charts/chart622.xml" ContentType="application/vnd.openxmlformats-officedocument.drawingml.chart+xml"/>
  <Override PartName="/ppt/charts/chart623.xml" ContentType="application/vnd.openxmlformats-officedocument.drawingml.chart+xml"/>
  <Override PartName="/ppt/charts/chart624.xml" ContentType="application/vnd.openxmlformats-officedocument.drawingml.chart+xml"/>
  <Override PartName="/ppt/charts/chart625.xml" ContentType="application/vnd.openxmlformats-officedocument.drawingml.chart+xml"/>
  <Override PartName="/ppt/charts/chart626.xml" ContentType="application/vnd.openxmlformats-officedocument.drawingml.chart+xml"/>
  <Override PartName="/ppt/charts/chart627.xml" ContentType="application/vnd.openxmlformats-officedocument.drawingml.chart+xml"/>
  <Override PartName="/ppt/charts/chart628.xml" ContentType="application/vnd.openxmlformats-officedocument.drawingml.chart+xml"/>
  <Override PartName="/ppt/charts/chart629.xml" ContentType="application/vnd.openxmlformats-officedocument.drawingml.chart+xml"/>
  <Override PartName="/ppt/charts/chart63.xml" ContentType="application/vnd.openxmlformats-officedocument.drawingml.chart+xml"/>
  <Override PartName="/ppt/charts/chart630.xml" ContentType="application/vnd.openxmlformats-officedocument.drawingml.chart+xml"/>
  <Override PartName="/ppt/charts/chart631.xml" ContentType="application/vnd.openxmlformats-officedocument.drawingml.chart+xml"/>
  <Override PartName="/ppt/charts/chart632.xml" ContentType="application/vnd.openxmlformats-officedocument.drawingml.chart+xml"/>
  <Override PartName="/ppt/charts/chart633.xml" ContentType="application/vnd.openxmlformats-officedocument.drawingml.chart+xml"/>
  <Override PartName="/ppt/charts/chart634.xml" ContentType="application/vnd.openxmlformats-officedocument.drawingml.chart+xml"/>
  <Override PartName="/ppt/charts/chart635.xml" ContentType="application/vnd.openxmlformats-officedocument.drawingml.chart+xml"/>
  <Override PartName="/ppt/charts/chart636.xml" ContentType="application/vnd.openxmlformats-officedocument.drawingml.chart+xml"/>
  <Override PartName="/ppt/charts/chart637.xml" ContentType="application/vnd.openxmlformats-officedocument.drawingml.chart+xml"/>
  <Override PartName="/ppt/charts/chart638.xml" ContentType="application/vnd.openxmlformats-officedocument.drawingml.chart+xml"/>
  <Override PartName="/ppt/charts/chart639.xml" ContentType="application/vnd.openxmlformats-officedocument.drawingml.chart+xml"/>
  <Override PartName="/ppt/charts/chart64.xml" ContentType="application/vnd.openxmlformats-officedocument.drawingml.chart+xml"/>
  <Override PartName="/ppt/charts/chart640.xml" ContentType="application/vnd.openxmlformats-officedocument.drawingml.chart+xml"/>
  <Override PartName="/ppt/charts/chart641.xml" ContentType="application/vnd.openxmlformats-officedocument.drawingml.chart+xml"/>
  <Override PartName="/ppt/charts/chart642.xml" ContentType="application/vnd.openxmlformats-officedocument.drawingml.chart+xml"/>
  <Override PartName="/ppt/charts/chart643.xml" ContentType="application/vnd.openxmlformats-officedocument.drawingml.chart+xml"/>
  <Override PartName="/ppt/charts/chart644.xml" ContentType="application/vnd.openxmlformats-officedocument.drawingml.chart+xml"/>
  <Override PartName="/ppt/charts/chart645.xml" ContentType="application/vnd.openxmlformats-officedocument.drawingml.chart+xml"/>
  <Override PartName="/ppt/charts/chart646.xml" ContentType="application/vnd.openxmlformats-officedocument.drawingml.chart+xml"/>
  <Override PartName="/ppt/charts/chart647.xml" ContentType="application/vnd.openxmlformats-officedocument.drawingml.chart+xml"/>
  <Override PartName="/ppt/charts/chart648.xml" ContentType="application/vnd.openxmlformats-officedocument.drawingml.chart+xml"/>
  <Override PartName="/ppt/charts/chart649.xml" ContentType="application/vnd.openxmlformats-officedocument.drawingml.chart+xml"/>
  <Override PartName="/ppt/charts/chart65.xml" ContentType="application/vnd.openxmlformats-officedocument.drawingml.chart+xml"/>
  <Override PartName="/ppt/charts/chart650.xml" ContentType="application/vnd.openxmlformats-officedocument.drawingml.chart+xml"/>
  <Override PartName="/ppt/charts/chart651.xml" ContentType="application/vnd.openxmlformats-officedocument.drawingml.chart+xml"/>
  <Override PartName="/ppt/charts/chart652.xml" ContentType="application/vnd.openxmlformats-officedocument.drawingml.chart+xml"/>
  <Override PartName="/ppt/charts/chart653.xml" ContentType="application/vnd.openxmlformats-officedocument.drawingml.chart+xml"/>
  <Override PartName="/ppt/charts/chart654.xml" ContentType="application/vnd.openxmlformats-officedocument.drawingml.chart+xml"/>
  <Override PartName="/ppt/charts/chart655.xml" ContentType="application/vnd.openxmlformats-officedocument.drawingml.chart+xml"/>
  <Override PartName="/ppt/charts/chart656.xml" ContentType="application/vnd.openxmlformats-officedocument.drawingml.chart+xml"/>
  <Override PartName="/ppt/charts/chart657.xml" ContentType="application/vnd.openxmlformats-officedocument.drawingml.chart+xml"/>
  <Override PartName="/ppt/charts/chart658.xml" ContentType="application/vnd.openxmlformats-officedocument.drawingml.chart+xml"/>
  <Override PartName="/ppt/charts/chart659.xml" ContentType="application/vnd.openxmlformats-officedocument.drawingml.chart+xml"/>
  <Override PartName="/ppt/charts/chart66.xml" ContentType="application/vnd.openxmlformats-officedocument.drawingml.chart+xml"/>
  <Override PartName="/ppt/charts/chart660.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65"/>
  </p:notesMasterIdLst>
  <p:sldIdLst>
    <p:sldId id="2147475171" r:id="rId5"/>
    <p:sldId id="2147475172" r:id="rId6"/>
    <p:sldId id="2147475173" r:id="rId7"/>
    <p:sldId id="2147475174" r:id="rId8"/>
    <p:sldId id="2147475175" r:id="rId9"/>
    <p:sldId id="2147475176" r:id="rId10"/>
    <p:sldId id="2147475177" r:id="rId11"/>
    <p:sldId id="2147475178" r:id="rId12"/>
    <p:sldId id="2147475179" r:id="rId13"/>
    <p:sldId id="2147475180" r:id="rId14"/>
    <p:sldId id="2147475181" r:id="rId15"/>
    <p:sldId id="2147475182" r:id="rId16"/>
    <p:sldId id="2147475183" r:id="rId17"/>
    <p:sldId id="2147475184" r:id="rId18"/>
    <p:sldId id="2147475185" r:id="rId19"/>
    <p:sldId id="2147475186" r:id="rId20"/>
    <p:sldId id="2147475187" r:id="rId21"/>
    <p:sldId id="2147475188" r:id="rId22"/>
    <p:sldId id="2147475189" r:id="rId23"/>
    <p:sldId id="2147475190" r:id="rId24"/>
    <p:sldId id="2147475191" r:id="rId25"/>
    <p:sldId id="2147475192" r:id="rId26"/>
    <p:sldId id="2147475193" r:id="rId27"/>
    <p:sldId id="2147475194" r:id="rId28"/>
    <p:sldId id="2147475195" r:id="rId29"/>
    <p:sldId id="2147475196" r:id="rId30"/>
    <p:sldId id="2147475197" r:id="rId31"/>
    <p:sldId id="2147475198" r:id="rId32"/>
    <p:sldId id="2147475199" r:id="rId33"/>
    <p:sldId id="2147475200" r:id="rId34"/>
    <p:sldId id="2147475201" r:id="rId35"/>
    <p:sldId id="2147475202" r:id="rId36"/>
    <p:sldId id="2147475203" r:id="rId37"/>
    <p:sldId id="2147475204" r:id="rId38"/>
    <p:sldId id="2147475205" r:id="rId39"/>
    <p:sldId id="2147475206" r:id="rId40"/>
    <p:sldId id="2147475207" r:id="rId41"/>
    <p:sldId id="2147475208" r:id="rId42"/>
    <p:sldId id="2147475209" r:id="rId43"/>
    <p:sldId id="2147475210" r:id="rId44"/>
    <p:sldId id="2147475211" r:id="rId45"/>
    <p:sldId id="2147475212" r:id="rId46"/>
    <p:sldId id="2147475213" r:id="rId47"/>
    <p:sldId id="2147475214" r:id="rId48"/>
    <p:sldId id="2147475215" r:id="rId49"/>
    <p:sldId id="2147475216" r:id="rId50"/>
    <p:sldId id="2147475217" r:id="rId51"/>
    <p:sldId id="2147475218" r:id="rId52"/>
    <p:sldId id="2147475219" r:id="rId53"/>
    <p:sldId id="2147475220" r:id="rId54"/>
    <p:sldId id="2147475221" r:id="rId55"/>
    <p:sldId id="2147475222" r:id="rId56"/>
    <p:sldId id="2147475223" r:id="rId57"/>
    <p:sldId id="2147475224" r:id="rId58"/>
    <p:sldId id="2147475225" r:id="rId59"/>
    <p:sldId id="2147475226" r:id="rId60"/>
    <p:sldId id="2147475227" r:id="rId61"/>
    <p:sldId id="2147475228" r:id="rId62"/>
    <p:sldId id="2147475229" r:id="rId63"/>
    <p:sldId id="2147475230" r:id="rId6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Sector" id="{BEB40FBA-24CE-4DC3-A0A5-4DE632DD737A}">
          <p14:sldIdLst>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Lst>
        </p14:section>
        <p14:section name="Brackets By Segment" id="{465A8A02-1813-4727-BD76-2AADECBB9C52}">
          <p14:sldIdLst>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607" autoAdjust="0"/>
    <p:restoredTop sz="94660"/>
  </p:normalViewPr>
  <p:slideViewPr>
    <p:cSldViewPr snapToGrid="0">
      <p:cViewPr varScale="1">
        <p:scale>
          <a:sx n="62" d="100"/>
          <a:sy n="62" d="100"/>
        </p:scale>
        <p:origin x="53" y="62"/>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notesMaster" Target="notesMasters/notesMaster1.xml"/><Relationship Id="rId66" Type="http://schemas.openxmlformats.org/officeDocument/2006/relationships/presProps" Target="presProps.xml"/><Relationship Id="rId67" Type="http://schemas.openxmlformats.org/officeDocument/2006/relationships/viewProps" Target="viewProps.xml"/><Relationship Id="rId68" Type="http://schemas.openxmlformats.org/officeDocument/2006/relationships/theme" Target="theme/theme1.xml"/><Relationship Id="rId69" Type="http://schemas.openxmlformats.org/officeDocument/2006/relationships/tableStyles" Target="tableStyles.xml"/><Relationship Id="rId70" Type="http://schemas.microsoft.com/office/2015/10/relationships/revisionInfo" Target="revisionInfo.xml"/><Relationship Id="rId71"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41.xml.rels><?xml version='1.0' encoding='UTF-8' standalone='yes'?>
<Relationships xmlns="http://schemas.openxmlformats.org/package/2006/relationships"><Relationship Id="rId1"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openxmlformats.org/officeDocument/2006/relationships/package" Target="../embeddings/Microsoft_Excel_Worksheet541.xlsx"/></Relationships>
</file>

<file path=ppt/charts/_rels/chart543.xml.rels><?xml version='1.0' encoding='UTF-8' standalone='yes'?>
<Relationships xmlns="http://schemas.openxmlformats.org/package/2006/relationships"><Relationship Id="rId1" Type="http://schemas.openxmlformats.org/officeDocument/2006/relationships/package" Target="../embeddings/Microsoft_Excel_Worksheet542.xlsx"/></Relationships>
</file>

<file path=ppt/charts/_rels/chart544.xml.rels><?xml version='1.0' encoding='UTF-8' standalone='yes'?>
<Relationships xmlns="http://schemas.openxmlformats.org/package/2006/relationships"><Relationship Id="rId1" Type="http://schemas.openxmlformats.org/officeDocument/2006/relationships/package" Target="../embeddings/Microsoft_Excel_Worksheet543.xlsx"/></Relationships>
</file>

<file path=ppt/charts/_rels/chart545.xml.rels><?xml version='1.0' encoding='UTF-8' standalone='yes'?>
<Relationships xmlns="http://schemas.openxmlformats.org/package/2006/relationships"><Relationship Id="rId1" Type="http://schemas.openxmlformats.org/officeDocument/2006/relationships/package" Target="../embeddings/Microsoft_Excel_Worksheet544.xlsx"/></Relationships>
</file>

<file path=ppt/charts/_rels/chart546.xml.rels><?xml version='1.0' encoding='UTF-8' standalone='yes'?>
<Relationships xmlns="http://schemas.openxmlformats.org/package/2006/relationships"><Relationship Id="rId1" Type="http://schemas.openxmlformats.org/officeDocument/2006/relationships/package" Target="../embeddings/Microsoft_Excel_Worksheet545.xlsx"/></Relationships>
</file>

<file path=ppt/charts/_rels/chart547.xml.rels><?xml version='1.0' encoding='UTF-8' standalone='yes'?>
<Relationships xmlns="http://schemas.openxmlformats.org/package/2006/relationships"><Relationship Id="rId1"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openxmlformats.org/officeDocument/2006/relationships/package" Target="../embeddings/Microsoft_Excel_Worksheet548.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0.xml.rels><?xml version='1.0' encoding='UTF-8' standalone='yes'?>
<Relationships xmlns="http://schemas.openxmlformats.org/package/2006/relationships"><Relationship Id="rId1" Type="http://schemas.openxmlformats.org/officeDocument/2006/relationships/package" Target="../embeddings/Microsoft_Excel_Worksheet54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55.xml.rels><?xml version='1.0' encoding='UTF-8' standalone='yes'?>
<Relationships xmlns="http://schemas.openxmlformats.org/package/2006/relationships"><Relationship Id="rId1"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openxmlformats.org/officeDocument/2006/relationships/package" Target="../embeddings/Microsoft_Excel_Worksheet564.xlsx"/></Relationships>
</file>

<file path=ppt/charts/_rels/chart566.xml.rels><?xml version='1.0' encoding='UTF-8' standalone='yes'?>
<Relationships xmlns="http://schemas.openxmlformats.org/package/2006/relationships"><Relationship Id="rId1" Type="http://schemas.openxmlformats.org/officeDocument/2006/relationships/package" Target="../embeddings/Microsoft_Excel_Worksheet565.xlsx"/></Relationships>
</file>

<file path=ppt/charts/_rels/chart567.xml.rels><?xml version='1.0' encoding='UTF-8' standalone='yes'?>
<Relationships xmlns="http://schemas.openxmlformats.org/package/2006/relationships"><Relationship Id="rId1"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71.xml.rels><?xml version='1.0' encoding='UTF-8' standalone='yes'?>
<Relationships xmlns="http://schemas.openxmlformats.org/package/2006/relationships"><Relationship Id="rId1" Type="http://schemas.openxmlformats.org/officeDocument/2006/relationships/package" Target="../embeddings/Microsoft_Excel_Worksheet570.xlsx"/></Relationships>
</file>

<file path=ppt/charts/_rels/chart572.xml.rels><?xml version='1.0' encoding='UTF-8' standalone='yes'?>
<Relationships xmlns="http://schemas.openxmlformats.org/package/2006/relationships"><Relationship Id="rId1" Type="http://schemas.openxmlformats.org/officeDocument/2006/relationships/package" Target="../embeddings/Microsoft_Excel_Worksheet571.xlsx"/></Relationships>
</file>

<file path=ppt/charts/_rels/chart573.xml.rels><?xml version='1.0' encoding='UTF-8' standalone='yes'?>
<Relationships xmlns="http://schemas.openxmlformats.org/package/2006/relationships"><Relationship Id="rId1" Type="http://schemas.openxmlformats.org/officeDocument/2006/relationships/package" Target="../embeddings/Microsoft_Excel_Worksheet572.xlsx"/></Relationships>
</file>

<file path=ppt/charts/_rels/chart574.xml.rels><?xml version='1.0' encoding='UTF-8' standalone='yes'?>
<Relationships xmlns="http://schemas.openxmlformats.org/package/2006/relationships"><Relationship Id="rId1" Type="http://schemas.openxmlformats.org/officeDocument/2006/relationships/package" Target="../embeddings/Microsoft_Excel_Worksheet573.xlsx"/></Relationships>
</file>

<file path=ppt/charts/_rels/chart575.xml.rels><?xml version='1.0' encoding='UTF-8' standalone='yes'?>
<Relationships xmlns="http://schemas.openxmlformats.org/package/2006/relationships"><Relationship Id="rId1" Type="http://schemas.openxmlformats.org/officeDocument/2006/relationships/package" Target="../embeddings/Microsoft_Excel_Worksheet574.xlsx"/></Relationships>
</file>

<file path=ppt/charts/_rels/chart576.xml.rels><?xml version='1.0' encoding='UTF-8' standalone='yes'?>
<Relationships xmlns="http://schemas.openxmlformats.org/package/2006/relationships"><Relationship Id="rId1" Type="http://schemas.openxmlformats.org/officeDocument/2006/relationships/package" Target="../embeddings/Microsoft_Excel_Worksheet575.xlsx"/></Relationships>
</file>

<file path=ppt/charts/_rels/chart577.xml.rels><?xml version='1.0' encoding='UTF-8' standalone='yes'?>
<Relationships xmlns="http://schemas.openxmlformats.org/package/2006/relationships"><Relationship Id="rId1" Type="http://schemas.openxmlformats.org/officeDocument/2006/relationships/package" Target="../embeddings/Microsoft_Excel_Worksheet576.xlsx"/></Relationships>
</file>

<file path=ppt/charts/_rels/chart578.xml.rels><?xml version='1.0' encoding='UTF-8' standalone='yes'?>
<Relationships xmlns="http://schemas.openxmlformats.org/package/2006/relationships"><Relationship Id="rId1" Type="http://schemas.openxmlformats.org/officeDocument/2006/relationships/package" Target="../embeddings/Microsoft_Excel_Worksheet577.xlsx"/></Relationships>
</file>

<file path=ppt/charts/_rels/chart579.xml.rels><?xml version='1.0' encoding='UTF-8' standalone='yes'?>
<Relationships xmlns="http://schemas.openxmlformats.org/package/2006/relationships"><Relationship Id="rId1" Type="http://schemas.openxmlformats.org/officeDocument/2006/relationships/package" Target="../embeddings/Microsoft_Excel_Worksheet578.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80.xml.rels><?xml version='1.0' encoding='UTF-8' standalone='yes'?>
<Relationships xmlns="http://schemas.openxmlformats.org/package/2006/relationships"><Relationship Id="rId1" Type="http://schemas.openxmlformats.org/officeDocument/2006/relationships/package" Target="../embeddings/Microsoft_Excel_Worksheet579.xlsx"/></Relationships>
</file>

<file path=ppt/charts/_rels/chart581.xml.rels><?xml version='1.0' encoding='UTF-8' standalone='yes'?>
<Relationships xmlns="http://schemas.openxmlformats.org/package/2006/relationships"><Relationship Id="rId1" Type="http://schemas.openxmlformats.org/officeDocument/2006/relationships/package" Target="../embeddings/Microsoft_Excel_Worksheet580.xlsx"/></Relationships>
</file>

<file path=ppt/charts/_rels/chart582.xml.rels><?xml version='1.0' encoding='UTF-8' standalone='yes'?>
<Relationships xmlns="http://schemas.openxmlformats.org/package/2006/relationships"><Relationship Id="rId1" Type="http://schemas.openxmlformats.org/officeDocument/2006/relationships/package" Target="../embeddings/Microsoft_Excel_Worksheet581.xlsx"/></Relationships>
</file>

<file path=ppt/charts/_rels/chart583.xml.rels><?xml version='1.0' encoding='UTF-8' standalone='yes'?>
<Relationships xmlns="http://schemas.openxmlformats.org/package/2006/relationships"><Relationship Id="rId1" Type="http://schemas.openxmlformats.org/officeDocument/2006/relationships/package" Target="../embeddings/Microsoft_Excel_Worksheet582.xlsx"/></Relationships>
</file>

<file path=ppt/charts/_rels/chart584.xml.rels><?xml version='1.0' encoding='UTF-8' standalone='yes'?>
<Relationships xmlns="http://schemas.openxmlformats.org/package/2006/relationships"><Relationship Id="rId1" Type="http://schemas.openxmlformats.org/officeDocument/2006/relationships/package" Target="../embeddings/Microsoft_Excel_Worksheet583.xlsx"/></Relationships>
</file>

<file path=ppt/charts/_rels/chart585.xml.rels><?xml version='1.0' encoding='UTF-8' standalone='yes'?>
<Relationships xmlns="http://schemas.openxmlformats.org/package/2006/relationships"><Relationship Id="rId1" Type="http://schemas.openxmlformats.org/officeDocument/2006/relationships/package" Target="../embeddings/Microsoft_Excel_Worksheet584.xlsx"/></Relationships>
</file>

<file path=ppt/charts/_rels/chart586.xml.rels><?xml version='1.0' encoding='UTF-8' standalone='yes'?>
<Relationships xmlns="http://schemas.openxmlformats.org/package/2006/relationships"><Relationship Id="rId1" Type="http://schemas.openxmlformats.org/officeDocument/2006/relationships/package" Target="../embeddings/Microsoft_Excel_Worksheet585.xlsx"/></Relationships>
</file>

<file path=ppt/charts/_rels/chart587.xml.rels><?xml version='1.0' encoding='UTF-8' standalone='yes'?>
<Relationships xmlns="http://schemas.openxmlformats.org/package/2006/relationships"><Relationship Id="rId1" Type="http://schemas.openxmlformats.org/officeDocument/2006/relationships/package" Target="../embeddings/Microsoft_Excel_Worksheet586.xlsx"/></Relationships>
</file>

<file path=ppt/charts/_rels/chart588.xml.rels><?xml version='1.0' encoding='UTF-8' standalone='yes'?>
<Relationships xmlns="http://schemas.openxmlformats.org/package/2006/relationships"><Relationship Id="rId1" Type="http://schemas.openxmlformats.org/officeDocument/2006/relationships/package" Target="../embeddings/Microsoft_Excel_Worksheet587.xlsx"/></Relationships>
</file>

<file path=ppt/charts/_rels/chart589.xml.rels><?xml version='1.0' encoding='UTF-8' standalone='yes'?>
<Relationships xmlns="http://schemas.openxmlformats.org/package/2006/relationships"><Relationship Id="rId1" Type="http://schemas.openxmlformats.org/officeDocument/2006/relationships/package" Target="../embeddings/Microsoft_Excel_Worksheet588.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590.xml.rels><?xml version='1.0' encoding='UTF-8' standalone='yes'?>
<Relationships xmlns="http://schemas.openxmlformats.org/package/2006/relationships"><Relationship Id="rId1" Type="http://schemas.openxmlformats.org/officeDocument/2006/relationships/package" Target="../embeddings/Microsoft_Excel_Worksheet589.xlsx"/></Relationships>
</file>

<file path=ppt/charts/_rels/chart591.xml.rels><?xml version='1.0' encoding='UTF-8' standalone='yes'?>
<Relationships xmlns="http://schemas.openxmlformats.org/package/2006/relationships"><Relationship Id="rId1" Type="http://schemas.openxmlformats.org/officeDocument/2006/relationships/package" Target="../embeddings/Microsoft_Excel_Worksheet590.xlsx"/></Relationships>
</file>

<file path=ppt/charts/_rels/chart592.xml.rels><?xml version='1.0' encoding='UTF-8' standalone='yes'?>
<Relationships xmlns="http://schemas.openxmlformats.org/package/2006/relationships"><Relationship Id="rId1" Type="http://schemas.openxmlformats.org/officeDocument/2006/relationships/package" Target="../embeddings/Microsoft_Excel_Worksheet591.xlsx"/></Relationships>
</file>

<file path=ppt/charts/_rels/chart593.xml.rels><?xml version='1.0' encoding='UTF-8' standalone='yes'?>
<Relationships xmlns="http://schemas.openxmlformats.org/package/2006/relationships"><Relationship Id="rId1" Type="http://schemas.openxmlformats.org/officeDocument/2006/relationships/package" Target="../embeddings/Microsoft_Excel_Worksheet592.xlsx"/></Relationships>
</file>

<file path=ppt/charts/_rels/chart594.xml.rels><?xml version='1.0' encoding='UTF-8' standalone='yes'?>
<Relationships xmlns="http://schemas.openxmlformats.org/package/2006/relationships"><Relationship Id="rId1" Type="http://schemas.openxmlformats.org/officeDocument/2006/relationships/package" Target="../embeddings/Microsoft_Excel_Worksheet593.xlsx"/></Relationships>
</file>

<file path=ppt/charts/_rels/chart595.xml.rels><?xml version='1.0' encoding='UTF-8' standalone='yes'?>
<Relationships xmlns="http://schemas.openxmlformats.org/package/2006/relationships"><Relationship Id="rId1" Type="http://schemas.openxmlformats.org/officeDocument/2006/relationships/package" Target="../embeddings/Microsoft_Excel_Worksheet594.xlsx"/></Relationships>
</file>

<file path=ppt/charts/_rels/chart596.xml.rels><?xml version='1.0' encoding='UTF-8' standalone='yes'?>
<Relationships xmlns="http://schemas.openxmlformats.org/package/2006/relationships"><Relationship Id="rId1" Type="http://schemas.openxmlformats.org/officeDocument/2006/relationships/package" Target="../embeddings/Microsoft_Excel_Worksheet595.xlsx"/></Relationships>
</file>

<file path=ppt/charts/_rels/chart597.xml.rels><?xml version='1.0' encoding='UTF-8' standalone='yes'?>
<Relationships xmlns="http://schemas.openxmlformats.org/package/2006/relationships"><Relationship Id="rId1" Type="http://schemas.openxmlformats.org/officeDocument/2006/relationships/package" Target="../embeddings/Microsoft_Excel_Worksheet596.xlsx"/></Relationships>
</file>

<file path=ppt/charts/_rels/chart598.xml.rels><?xml version='1.0' encoding='UTF-8' standalone='yes'?>
<Relationships xmlns="http://schemas.openxmlformats.org/package/2006/relationships"><Relationship Id="rId1" Type="http://schemas.openxmlformats.org/officeDocument/2006/relationships/package" Target="../embeddings/Microsoft_Excel_Worksheet597.xlsx"/></Relationships>
</file>

<file path=ppt/charts/_rels/chart599.xml.rels><?xml version='1.0' encoding='UTF-8' standalone='yes'?>
<Relationships xmlns="http://schemas.openxmlformats.org/package/2006/relationships"><Relationship Id="rId1" Type="http://schemas.openxmlformats.org/officeDocument/2006/relationships/package" Target="../embeddings/Microsoft_Excel_Worksheet59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00.xml.rels><?xml version='1.0' encoding='UTF-8' standalone='yes'?>
<Relationships xmlns="http://schemas.openxmlformats.org/package/2006/relationships"><Relationship Id="rId1" Type="http://schemas.openxmlformats.org/officeDocument/2006/relationships/package" Target="../embeddings/Microsoft_Excel_Worksheet599.xlsx"/></Relationships>
</file>

<file path=ppt/charts/_rels/chart601.xml.rels><?xml version='1.0' encoding='UTF-8' standalone='yes'?>
<Relationships xmlns="http://schemas.openxmlformats.org/package/2006/relationships"><Relationship Id="rId1" Type="http://schemas.openxmlformats.org/officeDocument/2006/relationships/package" Target="../embeddings/Microsoft_Excel_Worksheet600.xlsx"/></Relationships>
</file>

<file path=ppt/charts/_rels/chart602.xml.rels><?xml version='1.0' encoding='UTF-8' standalone='yes'?>
<Relationships xmlns="http://schemas.openxmlformats.org/package/2006/relationships"><Relationship Id="rId1" Type="http://schemas.openxmlformats.org/officeDocument/2006/relationships/package" Target="../embeddings/Microsoft_Excel_Worksheet601.xlsx"/></Relationships>
</file>

<file path=ppt/charts/_rels/chart603.xml.rels><?xml version='1.0' encoding='UTF-8' standalone='yes'?>
<Relationships xmlns="http://schemas.openxmlformats.org/package/2006/relationships"><Relationship Id="rId1" Type="http://schemas.openxmlformats.org/officeDocument/2006/relationships/package" Target="../embeddings/Microsoft_Excel_Worksheet602.xlsx"/></Relationships>
</file>

<file path=ppt/charts/_rels/chart604.xml.rels><?xml version='1.0' encoding='UTF-8' standalone='yes'?>
<Relationships xmlns="http://schemas.openxmlformats.org/package/2006/relationships"><Relationship Id="rId1" Type="http://schemas.openxmlformats.org/officeDocument/2006/relationships/package" Target="../embeddings/Microsoft_Excel_Worksheet603.xlsx"/></Relationships>
</file>

<file path=ppt/charts/_rels/chart605.xml.rels><?xml version='1.0' encoding='UTF-8' standalone='yes'?>
<Relationships xmlns="http://schemas.openxmlformats.org/package/2006/relationships"><Relationship Id="rId1" Type="http://schemas.openxmlformats.org/officeDocument/2006/relationships/package" Target="../embeddings/Microsoft_Excel_Worksheet604.xlsx"/></Relationships>
</file>

<file path=ppt/charts/_rels/chart606.xml.rels><?xml version='1.0' encoding='UTF-8' standalone='yes'?>
<Relationships xmlns="http://schemas.openxmlformats.org/package/2006/relationships"><Relationship Id="rId1" Type="http://schemas.openxmlformats.org/officeDocument/2006/relationships/package" Target="../embeddings/Microsoft_Excel_Worksheet605.xlsx"/></Relationships>
</file>

<file path=ppt/charts/_rels/chart607.xml.rels><?xml version='1.0' encoding='UTF-8' standalone='yes'?>
<Relationships xmlns="http://schemas.openxmlformats.org/package/2006/relationships"><Relationship Id="rId1" Type="http://schemas.openxmlformats.org/officeDocument/2006/relationships/package" Target="../embeddings/Microsoft_Excel_Worksheet606.xlsx"/></Relationships>
</file>

<file path=ppt/charts/_rels/chart608.xml.rels><?xml version='1.0' encoding='UTF-8' standalone='yes'?>
<Relationships xmlns="http://schemas.openxmlformats.org/package/2006/relationships"><Relationship Id="rId1" Type="http://schemas.openxmlformats.org/officeDocument/2006/relationships/package" Target="../embeddings/Microsoft_Excel_Worksheet607.xlsx"/></Relationships>
</file>

<file path=ppt/charts/_rels/chart609.xml.rels><?xml version='1.0' encoding='UTF-8' standalone='yes'?>
<Relationships xmlns="http://schemas.openxmlformats.org/package/2006/relationships"><Relationship Id="rId1" Type="http://schemas.openxmlformats.org/officeDocument/2006/relationships/package" Target="../embeddings/Microsoft_Excel_Worksheet608.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10.xml.rels><?xml version='1.0' encoding='UTF-8' standalone='yes'?>
<Relationships xmlns="http://schemas.openxmlformats.org/package/2006/relationships"><Relationship Id="rId1" Type="http://schemas.openxmlformats.org/officeDocument/2006/relationships/package" Target="../embeddings/Microsoft_Excel_Worksheet609.xlsx"/></Relationships>
</file>

<file path=ppt/charts/_rels/chart611.xml.rels><?xml version='1.0' encoding='UTF-8' standalone='yes'?>
<Relationships xmlns="http://schemas.openxmlformats.org/package/2006/relationships"><Relationship Id="rId1" Type="http://schemas.openxmlformats.org/officeDocument/2006/relationships/package" Target="../embeddings/Microsoft_Excel_Worksheet610.xlsx"/></Relationships>
</file>

<file path=ppt/charts/_rels/chart612.xml.rels><?xml version='1.0' encoding='UTF-8' standalone='yes'?>
<Relationships xmlns="http://schemas.openxmlformats.org/package/2006/relationships"><Relationship Id="rId1" Type="http://schemas.openxmlformats.org/officeDocument/2006/relationships/package" Target="../embeddings/Microsoft_Excel_Worksheet611.xlsx"/></Relationships>
</file>

<file path=ppt/charts/_rels/chart613.xml.rels><?xml version='1.0' encoding='UTF-8' standalone='yes'?>
<Relationships xmlns="http://schemas.openxmlformats.org/package/2006/relationships"><Relationship Id="rId1" Type="http://schemas.openxmlformats.org/officeDocument/2006/relationships/package" Target="../embeddings/Microsoft_Excel_Worksheet612.xlsx"/></Relationships>
</file>

<file path=ppt/charts/_rels/chart614.xml.rels><?xml version='1.0' encoding='UTF-8' standalone='yes'?>
<Relationships xmlns="http://schemas.openxmlformats.org/package/2006/relationships"><Relationship Id="rId1" Type="http://schemas.openxmlformats.org/officeDocument/2006/relationships/package" Target="../embeddings/Microsoft_Excel_Worksheet613.xlsx"/></Relationships>
</file>

<file path=ppt/charts/_rels/chart615.xml.rels><?xml version='1.0' encoding='UTF-8' standalone='yes'?>
<Relationships xmlns="http://schemas.openxmlformats.org/package/2006/relationships"><Relationship Id="rId1" Type="http://schemas.openxmlformats.org/officeDocument/2006/relationships/package" Target="../embeddings/Microsoft_Excel_Worksheet614.xlsx"/></Relationships>
</file>

<file path=ppt/charts/_rels/chart616.xml.rels><?xml version='1.0' encoding='UTF-8' standalone='yes'?>
<Relationships xmlns="http://schemas.openxmlformats.org/package/2006/relationships"><Relationship Id="rId1" Type="http://schemas.openxmlformats.org/officeDocument/2006/relationships/package" Target="../embeddings/Microsoft_Excel_Worksheet615.xlsx"/></Relationships>
</file>

<file path=ppt/charts/_rels/chart617.xml.rels><?xml version='1.0' encoding='UTF-8' standalone='yes'?>
<Relationships xmlns="http://schemas.openxmlformats.org/package/2006/relationships"><Relationship Id="rId1" Type="http://schemas.openxmlformats.org/officeDocument/2006/relationships/package" Target="../embeddings/Microsoft_Excel_Worksheet616.xlsx"/></Relationships>
</file>

<file path=ppt/charts/_rels/chart618.xml.rels><?xml version='1.0' encoding='UTF-8' standalone='yes'?>
<Relationships xmlns="http://schemas.openxmlformats.org/package/2006/relationships"><Relationship Id="rId1" Type="http://schemas.openxmlformats.org/officeDocument/2006/relationships/package" Target="../embeddings/Microsoft_Excel_Worksheet617.xlsx"/></Relationships>
</file>

<file path=ppt/charts/_rels/chart619.xml.rels><?xml version='1.0' encoding='UTF-8' standalone='yes'?>
<Relationships xmlns="http://schemas.openxmlformats.org/package/2006/relationships"><Relationship Id="rId1" Type="http://schemas.openxmlformats.org/officeDocument/2006/relationships/package" Target="../embeddings/Microsoft_Excel_Worksheet618.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20.xml.rels><?xml version='1.0' encoding='UTF-8' standalone='yes'?>
<Relationships xmlns="http://schemas.openxmlformats.org/package/2006/relationships"><Relationship Id="rId1" Type="http://schemas.openxmlformats.org/officeDocument/2006/relationships/package" Target="../embeddings/Microsoft_Excel_Worksheet619.xlsx"/></Relationships>
</file>

<file path=ppt/charts/_rels/chart621.xml.rels><?xml version='1.0' encoding='UTF-8' standalone='yes'?>
<Relationships xmlns="http://schemas.openxmlformats.org/package/2006/relationships"><Relationship Id="rId1" Type="http://schemas.openxmlformats.org/officeDocument/2006/relationships/package" Target="../embeddings/Microsoft_Excel_Worksheet620.xlsx"/></Relationships>
</file>

<file path=ppt/charts/_rels/chart622.xml.rels><?xml version='1.0' encoding='UTF-8' standalone='yes'?>
<Relationships xmlns="http://schemas.openxmlformats.org/package/2006/relationships"><Relationship Id="rId1" Type="http://schemas.openxmlformats.org/officeDocument/2006/relationships/package" Target="../embeddings/Microsoft_Excel_Worksheet621.xlsx"/></Relationships>
</file>

<file path=ppt/charts/_rels/chart623.xml.rels><?xml version='1.0' encoding='UTF-8' standalone='yes'?>
<Relationships xmlns="http://schemas.openxmlformats.org/package/2006/relationships"><Relationship Id="rId1" Type="http://schemas.openxmlformats.org/officeDocument/2006/relationships/package" Target="../embeddings/Microsoft_Excel_Worksheet622.xlsx"/></Relationships>
</file>

<file path=ppt/charts/_rels/chart624.xml.rels><?xml version='1.0' encoding='UTF-8' standalone='yes'?>
<Relationships xmlns="http://schemas.openxmlformats.org/package/2006/relationships"><Relationship Id="rId1" Type="http://schemas.openxmlformats.org/officeDocument/2006/relationships/package" Target="../embeddings/Microsoft_Excel_Worksheet623.xlsx"/></Relationships>
</file>

<file path=ppt/charts/_rels/chart625.xml.rels><?xml version='1.0' encoding='UTF-8' standalone='yes'?>
<Relationships xmlns="http://schemas.openxmlformats.org/package/2006/relationships"><Relationship Id="rId1" Type="http://schemas.openxmlformats.org/officeDocument/2006/relationships/package" Target="../embeddings/Microsoft_Excel_Worksheet624.xlsx"/></Relationships>
</file>

<file path=ppt/charts/_rels/chart626.xml.rels><?xml version='1.0' encoding='UTF-8' standalone='yes'?>
<Relationships xmlns="http://schemas.openxmlformats.org/package/2006/relationships"><Relationship Id="rId1" Type="http://schemas.openxmlformats.org/officeDocument/2006/relationships/package" Target="../embeddings/Microsoft_Excel_Worksheet625.xlsx"/></Relationships>
</file>

<file path=ppt/charts/_rels/chart627.xml.rels><?xml version='1.0' encoding='UTF-8' standalone='yes'?>
<Relationships xmlns="http://schemas.openxmlformats.org/package/2006/relationships"><Relationship Id="rId1" Type="http://schemas.openxmlformats.org/officeDocument/2006/relationships/package" Target="../embeddings/Microsoft_Excel_Worksheet626.xlsx"/></Relationships>
</file>

<file path=ppt/charts/_rels/chart628.xml.rels><?xml version='1.0' encoding='UTF-8' standalone='yes'?>
<Relationships xmlns="http://schemas.openxmlformats.org/package/2006/relationships"><Relationship Id="rId1" Type="http://schemas.openxmlformats.org/officeDocument/2006/relationships/package" Target="../embeddings/Microsoft_Excel_Worksheet627.xlsx"/></Relationships>
</file>

<file path=ppt/charts/_rels/chart629.xml.rels><?xml version='1.0' encoding='UTF-8' standalone='yes'?>
<Relationships xmlns="http://schemas.openxmlformats.org/package/2006/relationships"><Relationship Id="rId1" Type="http://schemas.openxmlformats.org/officeDocument/2006/relationships/package" Target="../embeddings/Microsoft_Excel_Worksheet628.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30.xml.rels><?xml version='1.0' encoding='UTF-8' standalone='yes'?>
<Relationships xmlns="http://schemas.openxmlformats.org/package/2006/relationships"><Relationship Id="rId1" Type="http://schemas.openxmlformats.org/officeDocument/2006/relationships/package" Target="../embeddings/Microsoft_Excel_Worksheet629.xlsx"/></Relationships>
</file>

<file path=ppt/charts/_rels/chart631.xml.rels><?xml version='1.0' encoding='UTF-8' standalone='yes'?>
<Relationships xmlns="http://schemas.openxmlformats.org/package/2006/relationships"><Relationship Id="rId1" Type="http://schemas.openxmlformats.org/officeDocument/2006/relationships/package" Target="../embeddings/Microsoft_Excel_Worksheet630.xlsx"/></Relationships>
</file>

<file path=ppt/charts/_rels/chart632.xml.rels><?xml version='1.0' encoding='UTF-8' standalone='yes'?>
<Relationships xmlns="http://schemas.openxmlformats.org/package/2006/relationships"><Relationship Id="rId1" Type="http://schemas.openxmlformats.org/officeDocument/2006/relationships/package" Target="../embeddings/Microsoft_Excel_Worksheet631.xlsx"/></Relationships>
</file>

<file path=ppt/charts/_rels/chart633.xml.rels><?xml version='1.0' encoding='UTF-8' standalone='yes'?>
<Relationships xmlns="http://schemas.openxmlformats.org/package/2006/relationships"><Relationship Id="rId1" Type="http://schemas.openxmlformats.org/officeDocument/2006/relationships/package" Target="../embeddings/Microsoft_Excel_Worksheet632.xlsx"/></Relationships>
</file>

<file path=ppt/charts/_rels/chart634.xml.rels><?xml version='1.0' encoding='UTF-8' standalone='yes'?>
<Relationships xmlns="http://schemas.openxmlformats.org/package/2006/relationships"><Relationship Id="rId1" Type="http://schemas.openxmlformats.org/officeDocument/2006/relationships/package" Target="../embeddings/Microsoft_Excel_Worksheet633.xlsx"/></Relationships>
</file>

<file path=ppt/charts/_rels/chart635.xml.rels><?xml version='1.0' encoding='UTF-8' standalone='yes'?>
<Relationships xmlns="http://schemas.openxmlformats.org/package/2006/relationships"><Relationship Id="rId1" Type="http://schemas.openxmlformats.org/officeDocument/2006/relationships/package" Target="../embeddings/Microsoft_Excel_Worksheet634.xlsx"/></Relationships>
</file>

<file path=ppt/charts/_rels/chart636.xml.rels><?xml version='1.0' encoding='UTF-8' standalone='yes'?>
<Relationships xmlns="http://schemas.openxmlformats.org/package/2006/relationships"><Relationship Id="rId1" Type="http://schemas.openxmlformats.org/officeDocument/2006/relationships/package" Target="../embeddings/Microsoft_Excel_Worksheet635.xlsx"/></Relationships>
</file>

<file path=ppt/charts/_rels/chart637.xml.rels><?xml version='1.0' encoding='UTF-8' standalone='yes'?>
<Relationships xmlns="http://schemas.openxmlformats.org/package/2006/relationships"><Relationship Id="rId1" Type="http://schemas.openxmlformats.org/officeDocument/2006/relationships/package" Target="../embeddings/Microsoft_Excel_Worksheet636.xlsx"/></Relationships>
</file>

<file path=ppt/charts/_rels/chart638.xml.rels><?xml version='1.0' encoding='UTF-8' standalone='yes'?>
<Relationships xmlns="http://schemas.openxmlformats.org/package/2006/relationships"><Relationship Id="rId1" Type="http://schemas.openxmlformats.org/officeDocument/2006/relationships/package" Target="../embeddings/Microsoft_Excel_Worksheet637.xlsx"/></Relationships>
</file>

<file path=ppt/charts/_rels/chart639.xml.rels><?xml version='1.0' encoding='UTF-8' standalone='yes'?>
<Relationships xmlns="http://schemas.openxmlformats.org/package/2006/relationships"><Relationship Id="rId1" Type="http://schemas.openxmlformats.org/officeDocument/2006/relationships/package" Target="../embeddings/Microsoft_Excel_Worksheet638.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40.xml.rels><?xml version='1.0' encoding='UTF-8' standalone='yes'?>
<Relationships xmlns="http://schemas.openxmlformats.org/package/2006/relationships"><Relationship Id="rId1" Type="http://schemas.openxmlformats.org/officeDocument/2006/relationships/package" Target="../embeddings/Microsoft_Excel_Worksheet639.xlsx"/></Relationships>
</file>

<file path=ppt/charts/_rels/chart641.xml.rels><?xml version='1.0' encoding='UTF-8' standalone='yes'?>
<Relationships xmlns="http://schemas.openxmlformats.org/package/2006/relationships"><Relationship Id="rId1" Type="http://schemas.openxmlformats.org/officeDocument/2006/relationships/package" Target="../embeddings/Microsoft_Excel_Worksheet640.xlsx"/></Relationships>
</file>

<file path=ppt/charts/_rels/chart642.xml.rels><?xml version='1.0' encoding='UTF-8' standalone='yes'?>
<Relationships xmlns="http://schemas.openxmlformats.org/package/2006/relationships"><Relationship Id="rId1" Type="http://schemas.openxmlformats.org/officeDocument/2006/relationships/package" Target="../embeddings/Microsoft_Excel_Worksheet641.xlsx"/></Relationships>
</file>

<file path=ppt/charts/_rels/chart643.xml.rels><?xml version='1.0' encoding='UTF-8' standalone='yes'?>
<Relationships xmlns="http://schemas.openxmlformats.org/package/2006/relationships"><Relationship Id="rId1" Type="http://schemas.openxmlformats.org/officeDocument/2006/relationships/package" Target="../embeddings/Microsoft_Excel_Worksheet642.xlsx"/></Relationships>
</file>

<file path=ppt/charts/_rels/chart644.xml.rels><?xml version='1.0' encoding='UTF-8' standalone='yes'?>
<Relationships xmlns="http://schemas.openxmlformats.org/package/2006/relationships"><Relationship Id="rId1" Type="http://schemas.openxmlformats.org/officeDocument/2006/relationships/package" Target="../embeddings/Microsoft_Excel_Worksheet643.xlsx"/></Relationships>
</file>

<file path=ppt/charts/_rels/chart645.xml.rels><?xml version='1.0' encoding='UTF-8' standalone='yes'?>
<Relationships xmlns="http://schemas.openxmlformats.org/package/2006/relationships"><Relationship Id="rId1" Type="http://schemas.openxmlformats.org/officeDocument/2006/relationships/package" Target="../embeddings/Microsoft_Excel_Worksheet644.xlsx"/></Relationships>
</file>

<file path=ppt/charts/_rels/chart646.xml.rels><?xml version='1.0' encoding='UTF-8' standalone='yes'?>
<Relationships xmlns="http://schemas.openxmlformats.org/package/2006/relationships"><Relationship Id="rId1" Type="http://schemas.openxmlformats.org/officeDocument/2006/relationships/package" Target="../embeddings/Microsoft_Excel_Worksheet645.xlsx"/></Relationships>
</file>

<file path=ppt/charts/_rels/chart647.xml.rels><?xml version='1.0' encoding='UTF-8' standalone='yes'?>
<Relationships xmlns="http://schemas.openxmlformats.org/package/2006/relationships"><Relationship Id="rId1" Type="http://schemas.openxmlformats.org/officeDocument/2006/relationships/package" Target="../embeddings/Microsoft_Excel_Worksheet646.xlsx"/></Relationships>
</file>

<file path=ppt/charts/_rels/chart648.xml.rels><?xml version='1.0' encoding='UTF-8' standalone='yes'?>
<Relationships xmlns="http://schemas.openxmlformats.org/package/2006/relationships"><Relationship Id="rId1" Type="http://schemas.openxmlformats.org/officeDocument/2006/relationships/package" Target="../embeddings/Microsoft_Excel_Worksheet647.xlsx"/></Relationships>
</file>

<file path=ppt/charts/_rels/chart649.xml.rels><?xml version='1.0' encoding='UTF-8' standalone='yes'?>
<Relationships xmlns="http://schemas.openxmlformats.org/package/2006/relationships"><Relationship Id="rId1" Type="http://schemas.openxmlformats.org/officeDocument/2006/relationships/package" Target="../embeddings/Microsoft_Excel_Worksheet648.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50.xml.rels><?xml version='1.0' encoding='UTF-8' standalone='yes'?>
<Relationships xmlns="http://schemas.openxmlformats.org/package/2006/relationships"><Relationship Id="rId1" Type="http://schemas.openxmlformats.org/officeDocument/2006/relationships/package" Target="../embeddings/Microsoft_Excel_Worksheet649.xlsx"/></Relationships>
</file>

<file path=ppt/charts/_rels/chart651.xml.rels><?xml version='1.0' encoding='UTF-8' standalone='yes'?>
<Relationships xmlns="http://schemas.openxmlformats.org/package/2006/relationships"><Relationship Id="rId1" Type="http://schemas.openxmlformats.org/officeDocument/2006/relationships/package" Target="../embeddings/Microsoft_Excel_Worksheet650.xlsx"/></Relationships>
</file>

<file path=ppt/charts/_rels/chart652.xml.rels><?xml version='1.0' encoding='UTF-8' standalone='yes'?>
<Relationships xmlns="http://schemas.openxmlformats.org/package/2006/relationships"><Relationship Id="rId1" Type="http://schemas.openxmlformats.org/officeDocument/2006/relationships/package" Target="../embeddings/Microsoft_Excel_Worksheet651.xlsx"/></Relationships>
</file>

<file path=ppt/charts/_rels/chart653.xml.rels><?xml version='1.0' encoding='UTF-8' standalone='yes'?>
<Relationships xmlns="http://schemas.openxmlformats.org/package/2006/relationships"><Relationship Id="rId1" Type="http://schemas.openxmlformats.org/officeDocument/2006/relationships/package" Target="../embeddings/Microsoft_Excel_Worksheet652.xlsx"/></Relationships>
</file>

<file path=ppt/charts/_rels/chart654.xml.rels><?xml version='1.0' encoding='UTF-8' standalone='yes'?>
<Relationships xmlns="http://schemas.openxmlformats.org/package/2006/relationships"><Relationship Id="rId1" Type="http://schemas.openxmlformats.org/officeDocument/2006/relationships/package" Target="../embeddings/Microsoft_Excel_Worksheet653.xlsx"/></Relationships>
</file>

<file path=ppt/charts/_rels/chart655.xml.rels><?xml version='1.0' encoding='UTF-8' standalone='yes'?>
<Relationships xmlns="http://schemas.openxmlformats.org/package/2006/relationships"><Relationship Id="rId1" Type="http://schemas.openxmlformats.org/officeDocument/2006/relationships/package" Target="../embeddings/Microsoft_Excel_Worksheet654.xlsx"/></Relationships>
</file>

<file path=ppt/charts/_rels/chart656.xml.rels><?xml version='1.0' encoding='UTF-8' standalone='yes'?>
<Relationships xmlns="http://schemas.openxmlformats.org/package/2006/relationships"><Relationship Id="rId1" Type="http://schemas.openxmlformats.org/officeDocument/2006/relationships/package" Target="../embeddings/Microsoft_Excel_Worksheet655.xlsx"/></Relationships>
</file>

<file path=ppt/charts/_rels/chart657.xml.rels><?xml version='1.0' encoding='UTF-8' standalone='yes'?>
<Relationships xmlns="http://schemas.openxmlformats.org/package/2006/relationships"><Relationship Id="rId1" Type="http://schemas.openxmlformats.org/officeDocument/2006/relationships/package" Target="../embeddings/Microsoft_Excel_Worksheet656.xlsx"/></Relationships>
</file>

<file path=ppt/charts/_rels/chart658.xml.rels><?xml version='1.0' encoding='UTF-8' standalone='yes'?>
<Relationships xmlns="http://schemas.openxmlformats.org/package/2006/relationships"><Relationship Id="rId1" Type="http://schemas.openxmlformats.org/officeDocument/2006/relationships/package" Target="../embeddings/Microsoft_Excel_Worksheet657.xlsx"/></Relationships>
</file>

<file path=ppt/charts/_rels/chart659.xml.rels><?xml version='1.0' encoding='UTF-8' standalone='yes'?>
<Relationships xmlns="http://schemas.openxmlformats.org/package/2006/relationships"><Relationship Id="rId1" Type="http://schemas.openxmlformats.org/officeDocument/2006/relationships/package" Target="../embeddings/Microsoft_Excel_Worksheet658.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60.xml.rels><?xml version='1.0' encoding='UTF-8' standalone='yes'?>
<Relationships xmlns="http://schemas.openxmlformats.org/package/2006/relationships"><Relationship Id="rId1" Type="http://schemas.openxmlformats.org/officeDocument/2006/relationships/package" Target="../embeddings/Microsoft_Excel_Worksheet659.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763891254811671</c:v>
                </c:pt>
                <c:pt idx="1">
                  <c:v>0.0674944113392715</c:v>
                </c:pt>
                <c:pt idx="2">
                  <c:v>0.014830469698480411</c:v>
                </c:pt>
                <c:pt idx="3">
                  <c:v>0.311340361511987</c:v>
                </c:pt>
                <c:pt idx="4">
                  <c:v>0.32670481642049026</c:v>
                </c:pt>
                <c:pt idx="5">
                  <c:v>0.031846622797020406</c:v>
                </c:pt>
                <c:pt idx="6">
                  <c:v>0.1436522298096535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42576005671826116</c:v>
                </c:pt>
                <c:pt idx="4">
                  <c:v>0.06786666493262843</c:v>
                </c:pt>
                <c:pt idx="5">
                  <c:v>0.008211270959521691</c:v>
                </c:pt>
                <c:pt idx="6">
                  <c:v>0.006245213541104578</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9082568466201588</c:v>
                </c:pt>
                <c:pt idx="1">
                  <c:v>0.2087666780946049</c:v>
                </c:pt>
                <c:pt idx="2">
                  <c:v>0.043675373030733926</c:v>
                </c:pt>
                <c:pt idx="3">
                  <c:v>0.22167586302895856</c:v>
                </c:pt>
                <c:pt idx="4">
                  <c:v>0.1764182181966608</c:v>
                </c:pt>
                <c:pt idx="5">
                  <c:v>0.021559404935717695</c:v>
                </c:pt>
                <c:pt idx="6">
                  <c:v>0.0979194224518446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15457411727770247</c:v>
                </c:pt>
                <c:pt idx="5">
                  <c:v>0.0016426243187521482</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634936048101665</c:v>
                </c:pt>
                <c:pt idx="1">
                  <c:v>0.19470830245296</c:v>
                </c:pt>
                <c:pt idx="2">
                  <c:v>0.03799840246175407</c:v>
                </c:pt>
                <c:pt idx="3">
                  <c:v>0.2642198946810881</c:v>
                </c:pt>
                <c:pt idx="4">
                  <c:v>0.1527909843893449</c:v>
                </c:pt>
                <c:pt idx="5">
                  <c:v>0.018381111293109247</c:v>
                </c:pt>
                <c:pt idx="6">
                  <c:v>0.08408664784372219</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298904892629609</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634936048101665</c:v>
                </c:pt>
                <c:pt idx="1">
                  <c:v>0.19470830245296</c:v>
                </c:pt>
                <c:pt idx="2">
                  <c:v>0.03799840246175407</c:v>
                </c:pt>
                <c:pt idx="3">
                  <c:v>0.2642198946810881</c:v>
                </c:pt>
                <c:pt idx="4">
                  <c:v>0.1527909843893449</c:v>
                </c:pt>
                <c:pt idx="5">
                  <c:v>0.018381111293109247</c:v>
                </c:pt>
                <c:pt idx="6">
                  <c:v>0.08408664784372219</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495472304315569</c:v>
                </c:pt>
                <c:pt idx="1">
                  <c:v>0.2612660249758486</c:v>
                </c:pt>
                <c:pt idx="2">
                  <c:v>0.06437946287107497</c:v>
                </c:pt>
                <c:pt idx="3">
                  <c:v>0.20927082498692792</c:v>
                </c:pt>
                <c:pt idx="4">
                  <c:v>0.02991176611434467</c:v>
                </c:pt>
                <c:pt idx="5">
                  <c:v>0.01266161410778612</c:v>
                </c:pt>
                <c:pt idx="6">
                  <c:v>0.03540737383883260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3858786058632921</c:v>
                </c:pt>
                <c:pt idx="4">
                  <c:v>0.03604997405042129</c:v>
                </c:pt>
                <c:pt idx="5">
                  <c:v>0.0008613300102536487</c:v>
                </c:pt>
                <c:pt idx="6">
                  <c:v>0.01520208401066706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5936010900310765</c:v>
                </c:pt>
                <c:pt idx="5">
                  <c:v>0.518021463636057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763891254811671</c:v>
                </c:pt>
                <c:pt idx="1">
                  <c:v>0.0674944113392715</c:v>
                </c:pt>
                <c:pt idx="2">
                  <c:v>0.014830469698480411</c:v>
                </c:pt>
                <c:pt idx="3">
                  <c:v>0.311340361511987</c:v>
                </c:pt>
                <c:pt idx="4">
                  <c:v>0.32670481642049026</c:v>
                </c:pt>
                <c:pt idx="5">
                  <c:v>0.031846622797020406</c:v>
                </c:pt>
                <c:pt idx="6">
                  <c:v>0.1436522298096535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6598935437421412</c:v>
                </c:pt>
                <c:pt idx="5">
                  <c:v>0.0009249816271804104</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8413556116870034</c:v>
                </c:pt>
                <c:pt idx="1">
                  <c:v>0.000979934826358286</c:v>
                </c:pt>
                <c:pt idx="2">
                  <c:v>0.0009495574375382925</c:v>
                </c:pt>
                <c:pt idx="3">
                  <c:v>0.006187144042706589</c:v>
                </c:pt>
                <c:pt idx="6">
                  <c:v>0.001137309874602244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9586879232621612</c:v>
                </c:pt>
                <c:pt idx="1">
                  <c:v>0.09957375071572619</c:v>
                </c:pt>
                <c:pt idx="2">
                  <c:v>0.02132673088801973</c:v>
                </c:pt>
                <c:pt idx="3">
                  <c:v>0.0879238498281898</c:v>
                </c:pt>
                <c:pt idx="4">
                  <c:v>0.08916431444378481</c:v>
                </c:pt>
                <c:pt idx="5">
                  <c:v>0.013823869691957629</c:v>
                </c:pt>
                <c:pt idx="6">
                  <c:v>0.05872126546945783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702867877644882</c:v>
                </c:pt>
                <c:pt idx="4">
                  <c:v>0.013073785998613969</c:v>
                </c:pt>
                <c:pt idx="5">
                  <c:v>0.0010167038769933491</c:v>
                </c:pt>
                <c:pt idx="6">
                  <c:v>0.0040807659982514555</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42939801769624523</c:v>
                </c:pt>
                <c:pt idx="1">
                  <c:v>0.047333613698353136</c:v>
                </c:pt>
                <c:pt idx="2">
                  <c:v>0.0012375199223676357</c:v>
                </c:pt>
                <c:pt idx="3">
                  <c:v>0.004516624612243819</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6493165236559725</c:v>
                </c:pt>
                <c:pt idx="1">
                  <c:v>0.051815470780811085</c:v>
                </c:pt>
                <c:pt idx="2">
                  <c:v>0.01594215709113453</c:v>
                </c:pt>
                <c:pt idx="3">
                  <c:v>0.010864007699796176</c:v>
                </c:pt>
                <c:pt idx="4">
                  <c:v>0.0230747124765720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997707769068139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7430118012796873</c:v>
                </c:pt>
                <c:pt idx="1">
                  <c:v>0.006896676459028559</c:v>
                </c:pt>
                <c:pt idx="2">
                  <c:v>0.0005509926467823818</c:v>
                </c:pt>
                <c:pt idx="3">
                  <c:v>0.08637700335617779</c:v>
                </c:pt>
                <c:pt idx="4">
                  <c:v>0.04868418445789511</c:v>
                </c:pt>
                <c:pt idx="5">
                  <c:v>0.005902953513784256</c:v>
                </c:pt>
                <c:pt idx="6">
                  <c:v>0.0360116815036423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4601452283916452</c:v>
                </c:pt>
                <c:pt idx="4">
                  <c:v>0.025333624994413502</c:v>
                </c:pt>
                <c:pt idx="6">
                  <c:v>0.009943064063006476</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228755046155319</c:v>
                </c:pt>
                <c:pt idx="1">
                  <c:v>0.0010146510037460652</c:v>
                </c:pt>
                <c:pt idx="3">
                  <c:v>0.013973714766895618</c:v>
                </c:pt>
                <c:pt idx="4">
                  <c:v>0.011225344936362687</c:v>
                </c:pt>
                <c:pt idx="6">
                  <c:v>0.0019282263050161511</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079403743354137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3285340093679934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95029838857444</c:v>
                </c:pt>
                <c:pt idx="1">
                  <c:v>0.0005628323089638882</c:v>
                </c:pt>
                <c:pt idx="3">
                  <c:v>0.001378236008137356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33414232703054955</c:v>
                </c:pt>
                <c:pt idx="3">
                  <c:v>0.010445875200017316</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9082568466201588</c:v>
                </c:pt>
                <c:pt idx="1">
                  <c:v>0.2087666780946049</c:v>
                </c:pt>
                <c:pt idx="2">
                  <c:v>0.043675373030733926</c:v>
                </c:pt>
                <c:pt idx="3">
                  <c:v>0.22167586302895856</c:v>
                </c:pt>
                <c:pt idx="4">
                  <c:v>0.1764182181966608</c:v>
                </c:pt>
                <c:pt idx="5">
                  <c:v>0.021559404935717695</c:v>
                </c:pt>
                <c:pt idx="6">
                  <c:v>0.0979194224518446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8073994047673462</c:v>
                </c:pt>
                <c:pt idx="1">
                  <c:v>0.002302810392097572</c:v>
                </c:pt>
                <c:pt idx="2">
                  <c:v>0.0012653995581036325</c:v>
                </c:pt>
                <c:pt idx="3">
                  <c:v>0.0059607752837843265</c:v>
                </c:pt>
                <c:pt idx="6">
                  <c:v>0.0011559949754697209</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0022759813425644</c:v>
                </c:pt>
                <c:pt idx="1">
                  <c:v>0.09279875371606594</c:v>
                </c:pt>
                <c:pt idx="2">
                  <c:v>0.015918263654723715</c:v>
                </c:pt>
                <c:pt idx="3">
                  <c:v>0.09915095560148886</c:v>
                </c:pt>
                <c:pt idx="4">
                  <c:v>0.08839693372761925</c:v>
                </c:pt>
                <c:pt idx="5">
                  <c:v>0.012230238309259098</c:v>
                </c:pt>
                <c:pt idx="6">
                  <c:v>0.0458231259484492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927637197050039</c:v>
                </c:pt>
                <c:pt idx="4">
                  <c:v>0.012647326803714777</c:v>
                </c:pt>
                <c:pt idx="6">
                  <c:v>0.004458935038356629</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3224390871811716</c:v>
                </c:pt>
                <c:pt idx="1">
                  <c:v>0.0552666188302981</c:v>
                </c:pt>
                <c:pt idx="2">
                  <c:v>0.0014257755265727693</c:v>
                </c:pt>
                <c:pt idx="3">
                  <c:v>0.00493618332771266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70572284030331</c:v>
                </c:pt>
                <c:pt idx="1">
                  <c:v>0.035376044567647494</c:v>
                </c:pt>
                <c:pt idx="2">
                  <c:v>0.014084415329312514</c:v>
                </c:pt>
                <c:pt idx="3">
                  <c:v>0.02785059272147008</c:v>
                </c:pt>
                <c:pt idx="4">
                  <c:v>0.006012685866039565</c:v>
                </c:pt>
                <c:pt idx="5">
                  <c:v>0.000583129678566268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072093705743369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869823302937896</c:v>
                </c:pt>
                <c:pt idx="1">
                  <c:v>0.006679687233131407</c:v>
                </c:pt>
                <c:pt idx="2">
                  <c:v>0.0014200561368374147</c:v>
                </c:pt>
                <c:pt idx="3">
                  <c:v>0.09585083607793642</c:v>
                </c:pt>
                <c:pt idx="4">
                  <c:v>0.045767211578828404</c:v>
                </c:pt>
                <c:pt idx="5">
                  <c:v>0.003248699458216741</c:v>
                </c:pt>
                <c:pt idx="6">
                  <c:v>0.0350629684561624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9311488615828822</c:v>
                </c:pt>
                <c:pt idx="4">
                  <c:v>0.02340264724670651</c:v>
                </c:pt>
                <c:pt idx="6">
                  <c:v>0.01074314897231044</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4956265841326384</c:v>
                </c:pt>
                <c:pt idx="1">
                  <c:v>0.0009662384112823264</c:v>
                </c:pt>
                <c:pt idx="3">
                  <c:v>0.017717333820981708</c:v>
                </c:pt>
                <c:pt idx="4">
                  <c:v>0.008332888824165328</c:v>
                </c:pt>
                <c:pt idx="5">
                  <c:v>0.0006189913195975047</c:v>
                </c:pt>
                <c:pt idx="6">
                  <c:v>0.0020240018087024276</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0867763317998733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3122170766326891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455685268021398</c:v>
                </c:pt>
                <c:pt idx="1">
                  <c:v>0.0006018103543618291</c:v>
                </c:pt>
                <c:pt idx="3">
                  <c:v>0.00151335277675891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3546330589168207</c:v>
                </c:pt>
                <c:pt idx="3">
                  <c:v>0.011141761418859898</c:v>
                </c:pt>
                <c:pt idx="4">
                  <c:v>0.000622441565726424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169541783450998</c:v>
                </c:pt>
                <c:pt idx="1">
                  <c:v>0.0025745601853596235</c:v>
                </c:pt>
                <c:pt idx="2">
                  <c:v>0.003838872258043006</c:v>
                </c:pt>
                <c:pt idx="3">
                  <c:v>0.00672586295568884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6726445211307792</c:v>
                </c:pt>
                <c:pt idx="1">
                  <c:v>0.12327808437455488</c:v>
                </c:pt>
                <c:pt idx="2">
                  <c:v>0.026394599406932985</c:v>
                </c:pt>
                <c:pt idx="3">
                  <c:v>0.09100260183660097</c:v>
                </c:pt>
                <c:pt idx="4">
                  <c:v>0.017493418523311304</c:v>
                </c:pt>
                <c:pt idx="5">
                  <c:v>0.010006625732997335</c:v>
                </c:pt>
                <c:pt idx="6">
                  <c:v>0.0144574655399605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6642544244570699</c:v>
                </c:pt>
                <c:pt idx="4">
                  <c:v>0.005361926862040679</c:v>
                </c:pt>
                <c:pt idx="5">
                  <c:v>0.000779537567997961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495472304315569</c:v>
                </c:pt>
                <c:pt idx="1">
                  <c:v>0.2612660249758486</c:v>
                </c:pt>
                <c:pt idx="2">
                  <c:v>0.06437946287107497</c:v>
                </c:pt>
                <c:pt idx="3">
                  <c:v>0.20927082498692792</c:v>
                </c:pt>
                <c:pt idx="4">
                  <c:v>0.02991176611434467</c:v>
                </c:pt>
                <c:pt idx="5">
                  <c:v>0.01266161410778612</c:v>
                </c:pt>
                <c:pt idx="6">
                  <c:v>0.03540737383883260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492171530345138</c:v>
                </c:pt>
                <c:pt idx="1">
                  <c:v>0.08126357518184163</c:v>
                </c:pt>
                <c:pt idx="2">
                  <c:v>0.0016198390333431267</c:v>
                </c:pt>
                <c:pt idx="3">
                  <c:v>0.0034074614154897395</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301508424316876</c:v>
                </c:pt>
                <c:pt idx="1">
                  <c:v>0.04126410170266737</c:v>
                </c:pt>
                <c:pt idx="2">
                  <c:v>0.02455370032815051</c:v>
                </c:pt>
                <c:pt idx="3">
                  <c:v>0.01757326005599474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868555403879401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9617210134617225</c:v>
                </c:pt>
                <c:pt idx="1">
                  <c:v>0.010133497821698818</c:v>
                </c:pt>
                <c:pt idx="2">
                  <c:v>0.0009764985615166986</c:v>
                </c:pt>
                <c:pt idx="3">
                  <c:v>0.06277128105801412</c:v>
                </c:pt>
                <c:pt idx="4">
                  <c:v>0.008839699160575781</c:v>
                </c:pt>
                <c:pt idx="5">
                  <c:v>0.002013178687886079</c:v>
                </c:pt>
                <c:pt idx="6">
                  <c:v>0.0185137289565384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247435338986575</c:v>
                </c:pt>
                <c:pt idx="4">
                  <c:v>0.005218504903063751</c:v>
                </c:pt>
                <c:pt idx="5">
                  <c:v>0.0007241136404066365</c:v>
                </c:pt>
                <c:pt idx="6">
                  <c:v>0.002166655491840629</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9116897634436447</c:v>
                </c:pt>
                <c:pt idx="4">
                  <c:v>0.01058043176510443</c:v>
                </c:pt>
                <c:pt idx="5">
                  <c:v>0.0015036512084045978</c:v>
                </c:pt>
                <c:pt idx="6">
                  <c:v>0.002545650163746228</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8393471530751234</c:v>
                </c:pt>
                <c:pt idx="1">
                  <c:v>0.0012571342961687985</c:v>
                </c:pt>
                <c:pt idx="3">
                  <c:v>0.012273720126917196</c:v>
                </c:pt>
                <c:pt idx="4">
                  <c:v>0.0009236778331459386</c:v>
                </c:pt>
                <c:pt idx="6">
                  <c:v>0.0021657747860135165</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1311892289075792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1834538604963007</c:v>
                </c:pt>
                <c:pt idx="1">
                  <c:v>0.001060333780416703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6739110058994529</c:v>
                </c:pt>
                <c:pt idx="2">
                  <c:v>0.006246093531527719</c:v>
                </c:pt>
                <c:pt idx="3">
                  <c:v>0.015376144538722793</c:v>
                </c:pt>
                <c:pt idx="4">
                  <c:v>0.001171915316885769</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9780720867962829</c:v>
                </c:pt>
                <c:pt idx="3">
                  <c:v>0.056020421288347104</c:v>
                </c:pt>
                <c:pt idx="4">
                  <c:v>0.1236929354456217</c:v>
                </c:pt>
                <c:pt idx="5">
                  <c:v>0.3643441194582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41502421563177835</c:v>
                </c:pt>
                <c:pt idx="4">
                  <c:v>0.011304395117744405</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34871443651578994</c:v>
                </c:pt>
                <c:pt idx="3">
                  <c:v>0.0391691856213148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1">
                  <c:v>0.0008493697688871372</c:v>
                </c:pt>
                <c:pt idx="2">
                  <c:v>0.03528388593379154</c:v>
                </c:pt>
                <c:pt idx="3">
                  <c:v>0.017484358702281023</c:v>
                </c:pt>
                <c:pt idx="4">
                  <c:v>0.019922441545302063</c:v>
                </c:pt>
                <c:pt idx="5">
                  <c:v>0.137036233943258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5501323182018693</c:v>
                </c:pt>
                <c:pt idx="3">
                  <c:v>0.005619275945821463</c:v>
                </c:pt>
                <c:pt idx="4">
                  <c:v>0.0022057088352898345</c:v>
                </c:pt>
                <c:pt idx="5">
                  <c:v>0.00979451341502759</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72658667067847325</c:v>
                </c:pt>
                <c:pt idx="3">
                  <c:v>0.003810980813723392</c:v>
                </c:pt>
                <c:pt idx="4">
                  <c:v>0.012188020629412585</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3556711382771315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161526617967792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2184833628921547</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25444376578649774</c:v>
                </c:pt>
                <c:pt idx="1">
                  <c:v>0.0031654837559785343</c:v>
                </c:pt>
                <c:pt idx="3">
                  <c:v>0.0025502792371965804</c:v>
                </c:pt>
                <c:pt idx="6">
                  <c:v>0.00229328381893629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31630131060365274</c:v>
                </c:pt>
                <c:pt idx="4">
                  <c:v>0.03840741099302747</c:v>
                </c:pt>
                <c:pt idx="5">
                  <c:v>0.0012781198618998933</c:v>
                </c:pt>
                <c:pt idx="6">
                  <c:v>0.01402730441779127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33080445760386795</c:v>
                </c:pt>
                <c:pt idx="1">
                  <c:v>0.0340708675568215</c:v>
                </c:pt>
                <c:pt idx="2">
                  <c:v>0.0036132641452077535</c:v>
                </c:pt>
                <c:pt idx="3">
                  <c:v>0.1184528564058909</c:v>
                </c:pt>
                <c:pt idx="4">
                  <c:v>0.16706288314734632</c:v>
                </c:pt>
                <c:pt idx="5">
                  <c:v>0.019972802675042985</c:v>
                </c:pt>
                <c:pt idx="6">
                  <c:v>0.0842161223117558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6576756936286036</c:v>
                </c:pt>
                <c:pt idx="4">
                  <c:v>0.01776328202937841</c:v>
                </c:pt>
                <c:pt idx="6">
                  <c:v>0.009577587829607015</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5978306116918745</c:v>
                </c:pt>
                <c:pt idx="1">
                  <c:v>0.011610659437248313</c:v>
                </c:pt>
                <c:pt idx="2">
                  <c:v>0.008976888996987413</c:v>
                </c:pt>
                <c:pt idx="3">
                  <c:v>0.007035377650331038</c:v>
                </c:pt>
                <c:pt idx="4">
                  <c:v>0.0009025182266051813</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824781657586923</c:v>
                </c:pt>
                <c:pt idx="1">
                  <c:v>0.013501382933519636</c:v>
                </c:pt>
                <c:pt idx="2">
                  <c:v>0.0011336472703081925</c:v>
                </c:pt>
                <c:pt idx="3">
                  <c:v>0.027522362210317695</c:v>
                </c:pt>
                <c:pt idx="4">
                  <c:v>0.02663993448986078</c:v>
                </c:pt>
                <c:pt idx="5">
                  <c:v>0.001936285503006845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8012680382756997</c:v>
                </c:pt>
                <c:pt idx="1">
                  <c:v>0.00092459953033422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165276660096335</c:v>
                </c:pt>
                <c:pt idx="1">
                  <c:v>0.00363302122926731</c:v>
                </c:pt>
                <c:pt idx="2">
                  <c:v>0.000703325908151189</c:v>
                </c:pt>
                <c:pt idx="3">
                  <c:v>0.12710014428262875</c:v>
                </c:pt>
                <c:pt idx="4">
                  <c:v>0.1039340603060471</c:v>
                </c:pt>
                <c:pt idx="5">
                  <c:v>0.004760486805376035</c:v>
                </c:pt>
                <c:pt idx="6">
                  <c:v>0.05524680680281452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3840992587823142</c:v>
                </c:pt>
                <c:pt idx="4">
                  <c:v>0.044290875787418776</c:v>
                </c:pt>
                <c:pt idx="5">
                  <c:v>0.0014130342938764341</c:v>
                </c:pt>
                <c:pt idx="6">
                  <c:v>0.021652353778176505</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1359727068466143</c:v>
                </c:pt>
                <c:pt idx="3">
                  <c:v>0.019169438580023467</c:v>
                </c:pt>
                <c:pt idx="4">
                  <c:v>0.02241934079319624</c:v>
                </c:pt>
                <c:pt idx="5">
                  <c:v>0.0015960842374479398</c:v>
                </c:pt>
                <c:pt idx="6">
                  <c:v>0.001839236554682021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1823478710383595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5129779148175012</c:v>
                </c:pt>
                <c:pt idx="5">
                  <c:v>0.000668973698062417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6853890318583133</c:v>
                </c:pt>
                <c:pt idx="3">
                  <c:v>0.003443542567102146</c:v>
                </c:pt>
                <c:pt idx="4">
                  <c:v>0.000585062675214866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587986263679223</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8413556116870034</c:v>
                </c:pt>
                <c:pt idx="1">
                  <c:v>0.000979934826358286</c:v>
                </c:pt>
                <c:pt idx="2">
                  <c:v>0.0009495574375382925</c:v>
                </c:pt>
                <c:pt idx="3">
                  <c:v>0.006187144042706589</c:v>
                </c:pt>
                <c:pt idx="6">
                  <c:v>0.001137309874602244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9586879232621612</c:v>
                </c:pt>
                <c:pt idx="1">
                  <c:v>0.09957375071572619</c:v>
                </c:pt>
                <c:pt idx="2">
                  <c:v>0.02132673088801973</c:v>
                </c:pt>
                <c:pt idx="3">
                  <c:v>0.0879238498281898</c:v>
                </c:pt>
                <c:pt idx="4">
                  <c:v>0.08916431444378481</c:v>
                </c:pt>
                <c:pt idx="5">
                  <c:v>0.013823869691957629</c:v>
                </c:pt>
                <c:pt idx="6">
                  <c:v>0.05872126546945783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05133608758594787</c:v>
                </c:pt>
                <c:pt idx="4">
                  <c:v>0.02155842850654838</c:v>
                </c:pt>
                <c:pt idx="5">
                  <c:v>0.0012887984708142045</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42939801769624523</c:v>
                </c:pt>
                <c:pt idx="1">
                  <c:v>0.047333613698353136</c:v>
                </c:pt>
                <c:pt idx="2">
                  <c:v>0.0012375199223676357</c:v>
                </c:pt>
                <c:pt idx="3">
                  <c:v>0.004516624612243819</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6493165236559725</c:v>
                </c:pt>
                <c:pt idx="1">
                  <c:v>0.051815470780811085</c:v>
                </c:pt>
                <c:pt idx="2">
                  <c:v>0.01594215709113453</c:v>
                </c:pt>
                <c:pt idx="3">
                  <c:v>0.010864007699796176</c:v>
                </c:pt>
                <c:pt idx="4">
                  <c:v>0.0230747124765720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997707769068139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7430118012796873</c:v>
                </c:pt>
                <c:pt idx="1">
                  <c:v>0.006896676459028559</c:v>
                </c:pt>
                <c:pt idx="2">
                  <c:v>0.0005509926467823818</c:v>
                </c:pt>
                <c:pt idx="3">
                  <c:v>0.08637700335617779</c:v>
                </c:pt>
                <c:pt idx="4">
                  <c:v>0.04868418445789511</c:v>
                </c:pt>
                <c:pt idx="5">
                  <c:v>0.005902953513784256</c:v>
                </c:pt>
                <c:pt idx="6">
                  <c:v>0.0360116815036423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5120759344428312</c:v>
                </c:pt>
                <c:pt idx="4">
                  <c:v>0.005363969747561835</c:v>
                </c:pt>
                <c:pt idx="5">
                  <c:v>0.000863892589727838</c:v>
                </c:pt>
                <c:pt idx="6">
                  <c:v>0.00391796715862873</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228755046155319</c:v>
                </c:pt>
                <c:pt idx="1">
                  <c:v>0.0010146510037460652</c:v>
                </c:pt>
                <c:pt idx="3">
                  <c:v>0.013973714766895618</c:v>
                </c:pt>
                <c:pt idx="4">
                  <c:v>0.011225344936362687</c:v>
                </c:pt>
                <c:pt idx="6">
                  <c:v>0.0019282263050161511</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5936010900310765</c:v>
                </c:pt>
                <c:pt idx="5">
                  <c:v>0.518021463636057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2269911646416432</c:v>
                </c:pt>
                <c:pt idx="4">
                  <c:v>0.009817430910160218</c:v>
                </c:pt>
                <c:pt idx="6">
                  <c:v>0.001588831214545981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079403743354137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0794037433541374</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3285340093679934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95029838857444</c:v>
                </c:pt>
                <c:pt idx="1">
                  <c:v>0.0005628323089638882</c:v>
                </c:pt>
                <c:pt idx="3">
                  <c:v>0.001378236008137356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5501323182018693</c:v>
                </c:pt>
                <c:pt idx="3">
                  <c:v>0.009769518102139246</c:v>
                </c:pt>
                <c:pt idx="4">
                  <c:v>0.013510103953034239</c:v>
                </c:pt>
                <c:pt idx="5">
                  <c:v>0.00979451341502759</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33414232703054955</c:v>
                </c:pt>
                <c:pt idx="3">
                  <c:v>0.010445875200017316</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8073994047673462</c:v>
                </c:pt>
                <c:pt idx="1">
                  <c:v>0.002302810392097572</c:v>
                </c:pt>
                <c:pt idx="2">
                  <c:v>0.0012653995581036325</c:v>
                </c:pt>
                <c:pt idx="3">
                  <c:v>0.0059607752837843265</c:v>
                </c:pt>
                <c:pt idx="6">
                  <c:v>0.0011559949754697209</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0022759813425644</c:v>
                </c:pt>
                <c:pt idx="1">
                  <c:v>0.09279875371606594</c:v>
                </c:pt>
                <c:pt idx="2">
                  <c:v>0.015918263654723715</c:v>
                </c:pt>
                <c:pt idx="3">
                  <c:v>0.09915095560148886</c:v>
                </c:pt>
                <c:pt idx="4">
                  <c:v>0.08839693372761925</c:v>
                </c:pt>
                <c:pt idx="5">
                  <c:v>0.012230238309259098</c:v>
                </c:pt>
                <c:pt idx="6">
                  <c:v>0.0458231259484492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4257728698966595</c:v>
                </c:pt>
                <c:pt idx="4">
                  <c:v>0.01900575924631353</c:v>
                </c:pt>
                <c:pt idx="5">
                  <c:v>0.0008719443780181551</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3224390871811716</c:v>
                </c:pt>
                <c:pt idx="1">
                  <c:v>0.0552666188302981</c:v>
                </c:pt>
                <c:pt idx="2">
                  <c:v>0.0014257755265727693</c:v>
                </c:pt>
                <c:pt idx="3">
                  <c:v>0.00493618332771266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70572284030331</c:v>
                </c:pt>
                <c:pt idx="1">
                  <c:v>0.035376044567647494</c:v>
                </c:pt>
                <c:pt idx="2">
                  <c:v>0.014084415329312514</c:v>
                </c:pt>
                <c:pt idx="3">
                  <c:v>0.02785059272147008</c:v>
                </c:pt>
                <c:pt idx="4">
                  <c:v>0.006012685866039565</c:v>
                </c:pt>
                <c:pt idx="5">
                  <c:v>0.000583129678566268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072093705743369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869823302937896</c:v>
                </c:pt>
                <c:pt idx="1">
                  <c:v>0.006679687233131407</c:v>
                </c:pt>
                <c:pt idx="2">
                  <c:v>0.0014200561368374147</c:v>
                </c:pt>
                <c:pt idx="3">
                  <c:v>0.09585083607793642</c:v>
                </c:pt>
                <c:pt idx="4">
                  <c:v>0.045767211578828404</c:v>
                </c:pt>
                <c:pt idx="5">
                  <c:v>0.003248699458216741</c:v>
                </c:pt>
                <c:pt idx="6">
                  <c:v>0.0350629684561624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664915853817777</c:v>
                </c:pt>
                <c:pt idx="4">
                  <c:v>0.00507343312642332</c:v>
                </c:pt>
                <c:pt idx="5">
                  <c:v>0.0006990000197638895</c:v>
                </c:pt>
                <c:pt idx="6">
                  <c:v>0.0042271916740755505</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4956265841326384</c:v>
                </c:pt>
                <c:pt idx="1">
                  <c:v>0.0009662384112823264</c:v>
                </c:pt>
                <c:pt idx="3">
                  <c:v>0.017717333820981708</c:v>
                </c:pt>
                <c:pt idx="4">
                  <c:v>0.008332888824165328</c:v>
                </c:pt>
                <c:pt idx="5">
                  <c:v>0.0006189913195975047</c:v>
                </c:pt>
                <c:pt idx="6">
                  <c:v>0.0020240018087024276</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560835431403465</c:v>
                </c:pt>
                <c:pt idx="4">
                  <c:v>0.007144005346302942</c:v>
                </c:pt>
                <c:pt idx="6">
                  <c:v>0.0017083816603126864</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0867763317998733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08677633179987338</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3122170766326891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455685268021398</c:v>
                </c:pt>
                <c:pt idx="1">
                  <c:v>0.0006018103543618291</c:v>
                </c:pt>
                <c:pt idx="3">
                  <c:v>0.00151335277675891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3546330589168207</c:v>
                </c:pt>
                <c:pt idx="3">
                  <c:v>0.011141761418859898</c:v>
                </c:pt>
                <c:pt idx="4">
                  <c:v>0.000622441565726424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169541783450998</c:v>
                </c:pt>
                <c:pt idx="1">
                  <c:v>0.0025745601853596235</c:v>
                </c:pt>
                <c:pt idx="2">
                  <c:v>0.003838872258043006</c:v>
                </c:pt>
                <c:pt idx="3">
                  <c:v>0.00672586295568884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6726445211307792</c:v>
                </c:pt>
                <c:pt idx="1">
                  <c:v>0.12327808437455488</c:v>
                </c:pt>
                <c:pt idx="2">
                  <c:v>0.026394599406932985</c:v>
                </c:pt>
                <c:pt idx="3">
                  <c:v>0.09100260183660097</c:v>
                </c:pt>
                <c:pt idx="4">
                  <c:v>0.017493418523311304</c:v>
                </c:pt>
                <c:pt idx="5">
                  <c:v>0.010006625732997335</c:v>
                </c:pt>
                <c:pt idx="6">
                  <c:v>0.0144574655399605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9431889986882894</c:v>
                </c:pt>
                <c:pt idx="4">
                  <c:v>0.0013351783817713754</c:v>
                </c:pt>
                <c:pt idx="5">
                  <c:v>0.0005584222682377644</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492171530345138</c:v>
                </c:pt>
                <c:pt idx="1">
                  <c:v>0.08126357518184163</c:v>
                </c:pt>
                <c:pt idx="2">
                  <c:v>0.0016198390333431267</c:v>
                </c:pt>
                <c:pt idx="3">
                  <c:v>0.0034074614154897395</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301508424316876</c:v>
                </c:pt>
                <c:pt idx="1">
                  <c:v>0.04126410170266737</c:v>
                </c:pt>
                <c:pt idx="2">
                  <c:v>0.02455370032815051</c:v>
                </c:pt>
                <c:pt idx="3">
                  <c:v>0.01757326005599474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868555403879401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9617210134617225</c:v>
                </c:pt>
                <c:pt idx="1">
                  <c:v>0.010133497821698818</c:v>
                </c:pt>
                <c:pt idx="2">
                  <c:v>0.0009764985615166986</c:v>
                </c:pt>
                <c:pt idx="3">
                  <c:v>0.06277128105801412</c:v>
                </c:pt>
                <c:pt idx="4">
                  <c:v>0.008839699160575781</c:v>
                </c:pt>
                <c:pt idx="5">
                  <c:v>0.002013178687886079</c:v>
                </c:pt>
                <c:pt idx="6">
                  <c:v>0.0185137289565384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3013064740984204</c:v>
                </c:pt>
                <c:pt idx="6">
                  <c:v>0.003680449952136209</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8393471530751234</c:v>
                </c:pt>
                <c:pt idx="1">
                  <c:v>0.0012571342961687985</c:v>
                </c:pt>
                <c:pt idx="3">
                  <c:v>0.012273720126917196</c:v>
                </c:pt>
                <c:pt idx="4">
                  <c:v>0.0009236778331459386</c:v>
                </c:pt>
                <c:pt idx="6">
                  <c:v>0.0021657747860135165</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9545737911451517</c:v>
                </c:pt>
                <c:pt idx="6">
                  <c:v>0.0020307495619163573</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1311892289075792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1834538604963007</c:v>
                </c:pt>
                <c:pt idx="1">
                  <c:v>0.001060333780416703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6739110058994529</c:v>
                </c:pt>
                <c:pt idx="2">
                  <c:v>0.006246093531527719</c:v>
                </c:pt>
                <c:pt idx="3">
                  <c:v>0.015376144538722793</c:v>
                </c:pt>
                <c:pt idx="4">
                  <c:v>0.001171915316885769</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9780720867962829</c:v>
                </c:pt>
                <c:pt idx="3">
                  <c:v>0.056020421288347104</c:v>
                </c:pt>
                <c:pt idx="4">
                  <c:v>0.1236929354456217</c:v>
                </c:pt>
                <c:pt idx="5">
                  <c:v>0.3643441194582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1288730080364051</c:v>
                </c:pt>
                <c:pt idx="3">
                  <c:v>0.006361522945187123</c:v>
                </c:pt>
                <c:pt idx="4">
                  <c:v>0.040732079361256356</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34871443651578994</c:v>
                </c:pt>
                <c:pt idx="3">
                  <c:v>0.0391691856213148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1">
                  <c:v>0.0008493697688871372</c:v>
                </c:pt>
                <c:pt idx="2">
                  <c:v>0.03528388593379154</c:v>
                </c:pt>
                <c:pt idx="3">
                  <c:v>0.017484358702281023</c:v>
                </c:pt>
                <c:pt idx="4">
                  <c:v>0.019922441545302063</c:v>
                </c:pt>
                <c:pt idx="5">
                  <c:v>0.137036233943258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5933502736417794</c:v>
                </c:pt>
                <c:pt idx="5">
                  <c:v>0.007874622254900553</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72658667067847325</c:v>
                </c:pt>
                <c:pt idx="3">
                  <c:v>0.003810980813723392</c:v>
                </c:pt>
                <c:pt idx="4">
                  <c:v>0.012188020629412585</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59313445853834785</c:v>
                </c:pt>
                <c:pt idx="3">
                  <c:v>0.003810980813723392</c:v>
                </c:pt>
                <c:pt idx="4">
                  <c:v>0.010161516808190364</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3556711382771315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161526617967792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2184833628921547</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763891254811671</c:v>
                </c:pt>
                <c:pt idx="1">
                  <c:v>0.0674944113392715</c:v>
                </c:pt>
                <c:pt idx="2">
                  <c:v>0.014830469698480411</c:v>
                </c:pt>
                <c:pt idx="3">
                  <c:v>0.311340361511987</c:v>
                </c:pt>
                <c:pt idx="4">
                  <c:v>0.32670481642049026</c:v>
                </c:pt>
                <c:pt idx="5">
                  <c:v>0.031846622797020406</c:v>
                </c:pt>
                <c:pt idx="6">
                  <c:v>0.1436522298096535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25444376578649774</c:v>
                </c:pt>
                <c:pt idx="1">
                  <c:v>0.0031654837559785343</c:v>
                </c:pt>
                <c:pt idx="3">
                  <c:v>0.0025502792371965804</c:v>
                </c:pt>
                <c:pt idx="6">
                  <c:v>0.00229328381893629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33080445760386795</c:v>
                </c:pt>
                <c:pt idx="1">
                  <c:v>0.0340708675568215</c:v>
                </c:pt>
                <c:pt idx="2">
                  <c:v>0.0036132641452077535</c:v>
                </c:pt>
                <c:pt idx="3">
                  <c:v>0.1184528564058909</c:v>
                </c:pt>
                <c:pt idx="4">
                  <c:v>0.16706288314734632</c:v>
                </c:pt>
                <c:pt idx="5">
                  <c:v>0.019972802675042985</c:v>
                </c:pt>
                <c:pt idx="6">
                  <c:v>0.0842161223117558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34077844170654</c:v>
                </c:pt>
                <c:pt idx="4">
                  <c:v>0.03608472419551464</c:v>
                </c:pt>
                <c:pt idx="5">
                  <c:v>0.0028996027607409787</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5498668281451746</c:v>
                </c:pt>
                <c:pt idx="4">
                  <c:v>0.062054157816797184</c:v>
                </c:pt>
                <c:pt idx="5">
                  <c:v>0.001701873955346538</c:v>
                </c:pt>
                <c:pt idx="6">
                  <c:v>0.03122994160778352</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5978306116918745</c:v>
                </c:pt>
                <c:pt idx="1">
                  <c:v>0.011610659437248313</c:v>
                </c:pt>
                <c:pt idx="2">
                  <c:v>0.008976888996987413</c:v>
                </c:pt>
                <c:pt idx="3">
                  <c:v>0.007035377650331038</c:v>
                </c:pt>
                <c:pt idx="4">
                  <c:v>0.0009025182266051813</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824781657586923</c:v>
                </c:pt>
                <c:pt idx="1">
                  <c:v>0.013501382933519636</c:v>
                </c:pt>
                <c:pt idx="2">
                  <c:v>0.0011336472703081925</c:v>
                </c:pt>
                <c:pt idx="3">
                  <c:v>0.027522362210317695</c:v>
                </c:pt>
                <c:pt idx="4">
                  <c:v>0.02663993448986078</c:v>
                </c:pt>
                <c:pt idx="5">
                  <c:v>0.001936285503006845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8012680382756997</c:v>
                </c:pt>
                <c:pt idx="1">
                  <c:v>0.00092459953033422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165276660096335</c:v>
                </c:pt>
                <c:pt idx="1">
                  <c:v>0.00363302122926731</c:v>
                </c:pt>
                <c:pt idx="2">
                  <c:v>0.000703325908151189</c:v>
                </c:pt>
                <c:pt idx="3">
                  <c:v>0.12710014428262875</c:v>
                </c:pt>
                <c:pt idx="4">
                  <c:v>0.1039340603060471</c:v>
                </c:pt>
                <c:pt idx="5">
                  <c:v>0.004760486805376035</c:v>
                </c:pt>
                <c:pt idx="6">
                  <c:v>0.05524680680281452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239313369533663</c:v>
                </c:pt>
                <c:pt idx="4">
                  <c:v>0.009930486514088033</c:v>
                </c:pt>
                <c:pt idx="5">
                  <c:v>0.0016935986381411293</c:v>
                </c:pt>
                <c:pt idx="6">
                  <c:v>0.004933251772692837</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1359727068466143</c:v>
                </c:pt>
                <c:pt idx="3">
                  <c:v>0.019169438580023467</c:v>
                </c:pt>
                <c:pt idx="4">
                  <c:v>0.02241934079319624</c:v>
                </c:pt>
                <c:pt idx="5">
                  <c:v>0.0015960842374479398</c:v>
                </c:pt>
                <c:pt idx="6">
                  <c:v>0.001839236554682021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7715108013469826</c:v>
                </c:pt>
                <c:pt idx="4">
                  <c:v>0.020969233370288123</c:v>
                </c:pt>
                <c:pt idx="5">
                  <c:v>0.001568825156392376</c:v>
                </c:pt>
                <c:pt idx="6">
                  <c:v>0.001301436460541998</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1823478710383595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18234787103835958</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5129779148175012</c:v>
                </c:pt>
                <c:pt idx="5">
                  <c:v>0.000668973698062417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6853890318583133</c:v>
                </c:pt>
                <c:pt idx="3">
                  <c:v>0.003443542567102146</c:v>
                </c:pt>
                <c:pt idx="4">
                  <c:v>0.000585062675214866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1269855213131173</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587986263679223</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8413556116870034</c:v>
                </c:pt>
                <c:pt idx="1">
                  <c:v>0.000979934826358286</c:v>
                </c:pt>
                <c:pt idx="2">
                  <c:v>0.0009495574375382925</c:v>
                </c:pt>
                <c:pt idx="3">
                  <c:v>0.006187144042706589</c:v>
                </c:pt>
                <c:pt idx="6">
                  <c:v>0.001137309874602244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9586879232621612</c:v>
                </c:pt>
                <c:pt idx="1">
                  <c:v>0.09957375071572619</c:v>
                </c:pt>
                <c:pt idx="2">
                  <c:v>0.02132673088801973</c:v>
                </c:pt>
                <c:pt idx="3">
                  <c:v>0.0879238498281898</c:v>
                </c:pt>
                <c:pt idx="4">
                  <c:v>0.08916431444378481</c:v>
                </c:pt>
                <c:pt idx="5">
                  <c:v>0.013823869691957629</c:v>
                </c:pt>
                <c:pt idx="6">
                  <c:v>0.05872126546945783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42939801769624523</c:v>
                </c:pt>
                <c:pt idx="1">
                  <c:v>0.047333613698353136</c:v>
                </c:pt>
                <c:pt idx="2">
                  <c:v>0.0012375199223676357</c:v>
                </c:pt>
                <c:pt idx="3">
                  <c:v>0.004516624612243819</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6493165236559725</c:v>
                </c:pt>
                <c:pt idx="1">
                  <c:v>0.051815470780811085</c:v>
                </c:pt>
                <c:pt idx="2">
                  <c:v>0.01594215709113453</c:v>
                </c:pt>
                <c:pt idx="3">
                  <c:v>0.010864007699796176</c:v>
                </c:pt>
                <c:pt idx="4">
                  <c:v>0.0230747124765720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997707769068139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7430118012796873</c:v>
                </c:pt>
                <c:pt idx="1">
                  <c:v>0.006896676459028559</c:v>
                </c:pt>
                <c:pt idx="2">
                  <c:v>0.0005509926467823818</c:v>
                </c:pt>
                <c:pt idx="3">
                  <c:v>0.08637700335617779</c:v>
                </c:pt>
                <c:pt idx="4">
                  <c:v>0.04868418445789511</c:v>
                </c:pt>
                <c:pt idx="5">
                  <c:v>0.005902953513784256</c:v>
                </c:pt>
                <c:pt idx="6">
                  <c:v>0.0360116815036423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15457411727770247</c:v>
                </c:pt>
                <c:pt idx="5">
                  <c:v>0.001642624318752148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228755046155319</c:v>
                </c:pt>
                <c:pt idx="1">
                  <c:v>0.0010146510037460652</c:v>
                </c:pt>
                <c:pt idx="3">
                  <c:v>0.013973714766895618</c:v>
                </c:pt>
                <c:pt idx="4">
                  <c:v>0.011225344936362687</c:v>
                </c:pt>
                <c:pt idx="6">
                  <c:v>0.0019282263050161511</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079403743354137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3285340093679934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95029838857444</c:v>
                </c:pt>
                <c:pt idx="1">
                  <c:v>0.0005628323089638882</c:v>
                </c:pt>
                <c:pt idx="3">
                  <c:v>0.001378236008137356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33414232703054955</c:v>
                </c:pt>
                <c:pt idx="3">
                  <c:v>0.010445875200017316</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8073994047673462</c:v>
                </c:pt>
                <c:pt idx="1">
                  <c:v>0.002302810392097572</c:v>
                </c:pt>
                <c:pt idx="2">
                  <c:v>0.0012653995581036325</c:v>
                </c:pt>
                <c:pt idx="3">
                  <c:v>0.0059607752837843265</c:v>
                </c:pt>
                <c:pt idx="6">
                  <c:v>0.0011559949754697209</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0022759813425644</c:v>
                </c:pt>
                <c:pt idx="1">
                  <c:v>0.09279875371606594</c:v>
                </c:pt>
                <c:pt idx="2">
                  <c:v>0.015918263654723715</c:v>
                </c:pt>
                <c:pt idx="3">
                  <c:v>0.09915095560148886</c:v>
                </c:pt>
                <c:pt idx="4">
                  <c:v>0.08839693372761925</c:v>
                </c:pt>
                <c:pt idx="5">
                  <c:v>0.012230238309259098</c:v>
                </c:pt>
                <c:pt idx="6">
                  <c:v>0.0458231259484492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3224390871811716</c:v>
                </c:pt>
                <c:pt idx="1">
                  <c:v>0.0552666188302981</c:v>
                </c:pt>
                <c:pt idx="2">
                  <c:v>0.0014257755265727693</c:v>
                </c:pt>
                <c:pt idx="3">
                  <c:v>0.00493618332771266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70572284030331</c:v>
                </c:pt>
                <c:pt idx="1">
                  <c:v>0.035376044567647494</c:v>
                </c:pt>
                <c:pt idx="2">
                  <c:v>0.014084415329312514</c:v>
                </c:pt>
                <c:pt idx="3">
                  <c:v>0.02785059272147008</c:v>
                </c:pt>
                <c:pt idx="4">
                  <c:v>0.006012685866039565</c:v>
                </c:pt>
                <c:pt idx="5">
                  <c:v>0.000583129678566268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072093705743369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869823302937896</c:v>
                </c:pt>
                <c:pt idx="1">
                  <c:v>0.006679687233131407</c:v>
                </c:pt>
                <c:pt idx="2">
                  <c:v>0.0014200561368374147</c:v>
                </c:pt>
                <c:pt idx="3">
                  <c:v>0.09585083607793642</c:v>
                </c:pt>
                <c:pt idx="4">
                  <c:v>0.045767211578828404</c:v>
                </c:pt>
                <c:pt idx="5">
                  <c:v>0.003248699458216741</c:v>
                </c:pt>
                <c:pt idx="6">
                  <c:v>0.0350629684561624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298904892629609</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4956265841326384</c:v>
                </c:pt>
                <c:pt idx="1">
                  <c:v>0.0009662384112823264</c:v>
                </c:pt>
                <c:pt idx="3">
                  <c:v>0.017717333820981708</c:v>
                </c:pt>
                <c:pt idx="4">
                  <c:v>0.008332888824165328</c:v>
                </c:pt>
                <c:pt idx="5">
                  <c:v>0.0006189913195975047</c:v>
                </c:pt>
                <c:pt idx="6">
                  <c:v>0.0020240018087024276</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0867763317998733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3122170766326891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455685268021398</c:v>
                </c:pt>
                <c:pt idx="1">
                  <c:v>0.0006018103543618291</c:v>
                </c:pt>
                <c:pt idx="3">
                  <c:v>0.00151335277675891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3546330589168207</c:v>
                </c:pt>
                <c:pt idx="3">
                  <c:v>0.011141761418859898</c:v>
                </c:pt>
                <c:pt idx="4">
                  <c:v>0.000622441565726424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169541783450998</c:v>
                </c:pt>
                <c:pt idx="1">
                  <c:v>0.0025745601853596235</c:v>
                </c:pt>
                <c:pt idx="2">
                  <c:v>0.003838872258043006</c:v>
                </c:pt>
                <c:pt idx="3">
                  <c:v>0.00672586295568884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6726445211307792</c:v>
                </c:pt>
                <c:pt idx="1">
                  <c:v>0.12327808437455488</c:v>
                </c:pt>
                <c:pt idx="2">
                  <c:v>0.026394599406932985</c:v>
                </c:pt>
                <c:pt idx="3">
                  <c:v>0.09100260183660097</c:v>
                </c:pt>
                <c:pt idx="4">
                  <c:v>0.017493418523311304</c:v>
                </c:pt>
                <c:pt idx="5">
                  <c:v>0.010006625732997335</c:v>
                </c:pt>
                <c:pt idx="6">
                  <c:v>0.0144574655399605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9082568466201588</c:v>
                </c:pt>
                <c:pt idx="1">
                  <c:v>0.2087666780946049</c:v>
                </c:pt>
                <c:pt idx="2">
                  <c:v>0.043675373030733926</c:v>
                </c:pt>
                <c:pt idx="3">
                  <c:v>0.22167586302895856</c:v>
                </c:pt>
                <c:pt idx="4">
                  <c:v>0.1764182181966608</c:v>
                </c:pt>
                <c:pt idx="5">
                  <c:v>0.021559404935717695</c:v>
                </c:pt>
                <c:pt idx="6">
                  <c:v>0.0979194224518446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492171530345138</c:v>
                </c:pt>
                <c:pt idx="1">
                  <c:v>0.08126357518184163</c:v>
                </c:pt>
                <c:pt idx="2">
                  <c:v>0.0016198390333431267</c:v>
                </c:pt>
                <c:pt idx="3">
                  <c:v>0.0034074614154897395</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301508424316876</c:v>
                </c:pt>
                <c:pt idx="1">
                  <c:v>0.04126410170266737</c:v>
                </c:pt>
                <c:pt idx="2">
                  <c:v>0.02455370032815051</c:v>
                </c:pt>
                <c:pt idx="3">
                  <c:v>0.01757326005599474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868555403879401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9617210134617225</c:v>
                </c:pt>
                <c:pt idx="1">
                  <c:v>0.010133497821698818</c:v>
                </c:pt>
                <c:pt idx="2">
                  <c:v>0.0009764985615166986</c:v>
                </c:pt>
                <c:pt idx="3">
                  <c:v>0.06277128105801412</c:v>
                </c:pt>
                <c:pt idx="4">
                  <c:v>0.008839699160575781</c:v>
                </c:pt>
                <c:pt idx="5">
                  <c:v>0.002013178687886079</c:v>
                </c:pt>
                <c:pt idx="6">
                  <c:v>0.0185137289565384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835004871864363</c:v>
                </c:pt>
                <c:pt idx="4">
                  <c:v>0.03712425297180491</c:v>
                </c:pt>
                <c:pt idx="5">
                  <c:v>0.003069581770446634</c:v>
                </c:pt>
                <c:pt idx="6">
                  <c:v>0.00556706554756811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8393471530751234</c:v>
                </c:pt>
                <c:pt idx="1">
                  <c:v>0.0012571342961687985</c:v>
                </c:pt>
                <c:pt idx="3">
                  <c:v>0.012273720126917196</c:v>
                </c:pt>
                <c:pt idx="4">
                  <c:v>0.0009236778331459386</c:v>
                </c:pt>
                <c:pt idx="6">
                  <c:v>0.0021657747860135165</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1311892289075792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1834538604963007</c:v>
                </c:pt>
                <c:pt idx="1">
                  <c:v>0.001060333780416703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6739110058994529</c:v>
                </c:pt>
                <c:pt idx="2">
                  <c:v>0.006246093531527719</c:v>
                </c:pt>
                <c:pt idx="3">
                  <c:v>0.015376144538722793</c:v>
                </c:pt>
                <c:pt idx="4">
                  <c:v>0.001171915316885769</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9780720867962829</c:v>
                </c:pt>
                <c:pt idx="3">
                  <c:v>0.056020421288347104</c:v>
                </c:pt>
                <c:pt idx="4">
                  <c:v>0.1236929354456217</c:v>
                </c:pt>
                <c:pt idx="5">
                  <c:v>0.3643441194582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34871443651578994</c:v>
                </c:pt>
                <c:pt idx="3">
                  <c:v>0.0391691856213148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1">
                  <c:v>0.0008493697688871372</c:v>
                </c:pt>
                <c:pt idx="2">
                  <c:v>0.03528388593379154</c:v>
                </c:pt>
                <c:pt idx="3">
                  <c:v>0.017484358702281023</c:v>
                </c:pt>
                <c:pt idx="4">
                  <c:v>0.019922441545302063</c:v>
                </c:pt>
                <c:pt idx="5">
                  <c:v>0.137036233943258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72658667067847325</c:v>
                </c:pt>
                <c:pt idx="3">
                  <c:v>0.003810980813723392</c:v>
                </c:pt>
                <c:pt idx="4">
                  <c:v>0.012188020629412585</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3556711382771315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161526617967792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2184833628921547</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25444376578649774</c:v>
                </c:pt>
                <c:pt idx="1">
                  <c:v>0.0031654837559785343</c:v>
                </c:pt>
                <c:pt idx="3">
                  <c:v>0.0025502792371965804</c:v>
                </c:pt>
                <c:pt idx="6">
                  <c:v>0.00229328381893629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33080445760386795</c:v>
                </c:pt>
                <c:pt idx="1">
                  <c:v>0.0340708675568215</c:v>
                </c:pt>
                <c:pt idx="2">
                  <c:v>0.0036132641452077535</c:v>
                </c:pt>
                <c:pt idx="3">
                  <c:v>0.1184528564058909</c:v>
                </c:pt>
                <c:pt idx="4">
                  <c:v>0.16706288314734632</c:v>
                </c:pt>
                <c:pt idx="5">
                  <c:v>0.019972802675042985</c:v>
                </c:pt>
                <c:pt idx="6">
                  <c:v>0.0842161223117558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5978306116918745</c:v>
                </c:pt>
                <c:pt idx="1">
                  <c:v>0.011610659437248313</c:v>
                </c:pt>
                <c:pt idx="2">
                  <c:v>0.008976888996987413</c:v>
                </c:pt>
                <c:pt idx="3">
                  <c:v>0.007035377650331038</c:v>
                </c:pt>
                <c:pt idx="4">
                  <c:v>0.0009025182266051813</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824781657586923</c:v>
                </c:pt>
                <c:pt idx="1">
                  <c:v>0.013501382933519636</c:v>
                </c:pt>
                <c:pt idx="2">
                  <c:v>0.0011336472703081925</c:v>
                </c:pt>
                <c:pt idx="3">
                  <c:v>0.027522362210317695</c:v>
                </c:pt>
                <c:pt idx="4">
                  <c:v>0.02663993448986078</c:v>
                </c:pt>
                <c:pt idx="5">
                  <c:v>0.001936285503006845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8012680382756997</c:v>
                </c:pt>
                <c:pt idx="1">
                  <c:v>0.00092459953033422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165276660096335</c:v>
                </c:pt>
                <c:pt idx="1">
                  <c:v>0.00363302122926731</c:v>
                </c:pt>
                <c:pt idx="2">
                  <c:v>0.000703325908151189</c:v>
                </c:pt>
                <c:pt idx="3">
                  <c:v>0.12710014428262875</c:v>
                </c:pt>
                <c:pt idx="4">
                  <c:v>0.1039340603060471</c:v>
                </c:pt>
                <c:pt idx="5">
                  <c:v>0.004760486805376035</c:v>
                </c:pt>
                <c:pt idx="6">
                  <c:v>0.05524680680281452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6598935437421412</c:v>
                </c:pt>
                <c:pt idx="5">
                  <c:v>0.0009249816271804104</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1359727068466143</c:v>
                </c:pt>
                <c:pt idx="3">
                  <c:v>0.019169438580023467</c:v>
                </c:pt>
                <c:pt idx="4">
                  <c:v>0.02241934079319624</c:v>
                </c:pt>
                <c:pt idx="5">
                  <c:v>0.0015960842374479398</c:v>
                </c:pt>
                <c:pt idx="6">
                  <c:v>0.001839236554682021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1823478710383595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5129779148175012</c:v>
                </c:pt>
                <c:pt idx="5">
                  <c:v>0.000668973698062417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6853890318583133</c:v>
                </c:pt>
                <c:pt idx="3">
                  <c:v>0.003443542567102146</c:v>
                </c:pt>
                <c:pt idx="4">
                  <c:v>0.000585062675214866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587986263679223</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634936048101665</c:v>
                </c:pt>
                <c:pt idx="1">
                  <c:v>0.19470830245296</c:v>
                </c:pt>
                <c:pt idx="2">
                  <c:v>0.03799840246175407</c:v>
                </c:pt>
                <c:pt idx="3">
                  <c:v>0.2642198946810881</c:v>
                </c:pt>
                <c:pt idx="4">
                  <c:v>0.1527909843893449</c:v>
                </c:pt>
                <c:pt idx="5">
                  <c:v>0.018381111293109247</c:v>
                </c:pt>
                <c:pt idx="6">
                  <c:v>0.08408664784372219</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3703693861182683</c:v>
                </c:pt>
                <c:pt idx="4">
                  <c:v>0.03160537208273034</c:v>
                </c:pt>
                <c:pt idx="5">
                  <c:v>0.002934773725298629</c:v>
                </c:pt>
                <c:pt idx="6">
                  <c:v>0.005944126136510069</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495472304315569</c:v>
                </c:pt>
                <c:pt idx="1">
                  <c:v>0.2612660249758486</c:v>
                </c:pt>
                <c:pt idx="2">
                  <c:v>0.06437946287107497</c:v>
                </c:pt>
                <c:pt idx="3">
                  <c:v>0.20927082498692792</c:v>
                </c:pt>
                <c:pt idx="4">
                  <c:v>0.02991176611434467</c:v>
                </c:pt>
                <c:pt idx="5">
                  <c:v>0.01266161410778612</c:v>
                </c:pt>
                <c:pt idx="6">
                  <c:v>0.03540737383883260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3201266271823326</c:v>
                </c:pt>
                <c:pt idx="4">
                  <c:v>0.0016228347784779035</c:v>
                </c:pt>
                <c:pt idx="5">
                  <c:v>0.0006944339020801837</c:v>
                </c:pt>
                <c:pt idx="6">
                  <c:v>0.005713380378072896</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5936010900310765</c:v>
                </c:pt>
                <c:pt idx="5">
                  <c:v>0.518021463636057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722007466574753</c:v>
                </c:pt>
                <c:pt idx="3">
                  <c:v>0.010451376111653789</c:v>
                </c:pt>
                <c:pt idx="4">
                  <c:v>0.056827098905864515</c:v>
                </c:pt>
                <c:pt idx="5">
                  <c:v>0.00828317986525132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1/07/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7/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7/1/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7/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7/1/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7/1/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7/1/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7/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7/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7/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7/1/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0.xml"/><Relationship Id="rId7" Type="http://schemas.openxmlformats.org/officeDocument/2006/relationships/chart" Target="../charts/chart101.xml"/><Relationship Id="rId8" Type="http://schemas.openxmlformats.org/officeDocument/2006/relationships/chart" Target="../charts/chart102.xml"/><Relationship Id="rId9" Type="http://schemas.openxmlformats.org/officeDocument/2006/relationships/chart" Target="../charts/chart103.xml"/><Relationship Id="rId10" Type="http://schemas.openxmlformats.org/officeDocument/2006/relationships/chart" Target="../charts/chart104.xml"/><Relationship Id="rId11" Type="http://schemas.openxmlformats.org/officeDocument/2006/relationships/chart" Target="../charts/chart105.xml"/><Relationship Id="rId12" Type="http://schemas.openxmlformats.org/officeDocument/2006/relationships/chart" Target="../charts/chart106.xml"/><Relationship Id="rId13" Type="http://schemas.openxmlformats.org/officeDocument/2006/relationships/chart" Target="../charts/chart107.xml"/><Relationship Id="rId14" Type="http://schemas.openxmlformats.org/officeDocument/2006/relationships/chart" Target="../charts/chart108.xml"/><Relationship Id="rId15" Type="http://schemas.openxmlformats.org/officeDocument/2006/relationships/chart" Target="../charts/chart109.xml"/><Relationship Id="rId16" Type="http://schemas.openxmlformats.org/officeDocument/2006/relationships/chart" Target="../charts/chart11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1.xml"/><Relationship Id="rId7" Type="http://schemas.openxmlformats.org/officeDocument/2006/relationships/chart" Target="../charts/chart112.xml"/><Relationship Id="rId8" Type="http://schemas.openxmlformats.org/officeDocument/2006/relationships/chart" Target="../charts/chart113.xml"/><Relationship Id="rId9" Type="http://schemas.openxmlformats.org/officeDocument/2006/relationships/chart" Target="../charts/chart114.xml"/><Relationship Id="rId10" Type="http://schemas.openxmlformats.org/officeDocument/2006/relationships/chart" Target="../charts/chart115.xml"/><Relationship Id="rId11" Type="http://schemas.openxmlformats.org/officeDocument/2006/relationships/chart" Target="../charts/chart116.xml"/><Relationship Id="rId12" Type="http://schemas.openxmlformats.org/officeDocument/2006/relationships/chart" Target="../charts/chart117.xml"/><Relationship Id="rId13" Type="http://schemas.openxmlformats.org/officeDocument/2006/relationships/chart" Target="../charts/chart118.xml"/><Relationship Id="rId14" Type="http://schemas.openxmlformats.org/officeDocument/2006/relationships/chart" Target="../charts/chart119.xml"/><Relationship Id="rId15" Type="http://schemas.openxmlformats.org/officeDocument/2006/relationships/chart" Target="../charts/chart120.xml"/><Relationship Id="rId16" Type="http://schemas.openxmlformats.org/officeDocument/2006/relationships/chart" Target="../charts/chart12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2.xml"/><Relationship Id="rId7" Type="http://schemas.openxmlformats.org/officeDocument/2006/relationships/chart" Target="../charts/chart123.xml"/><Relationship Id="rId8" Type="http://schemas.openxmlformats.org/officeDocument/2006/relationships/chart" Target="../charts/chart124.xml"/><Relationship Id="rId9" Type="http://schemas.openxmlformats.org/officeDocument/2006/relationships/chart" Target="../charts/chart125.xml"/><Relationship Id="rId10" Type="http://schemas.openxmlformats.org/officeDocument/2006/relationships/chart" Target="../charts/chart126.xml"/><Relationship Id="rId11" Type="http://schemas.openxmlformats.org/officeDocument/2006/relationships/chart" Target="../charts/chart127.xml"/><Relationship Id="rId12" Type="http://schemas.openxmlformats.org/officeDocument/2006/relationships/chart" Target="../charts/chart128.xml"/><Relationship Id="rId13" Type="http://schemas.openxmlformats.org/officeDocument/2006/relationships/chart" Target="../charts/chart129.xml"/><Relationship Id="rId14" Type="http://schemas.openxmlformats.org/officeDocument/2006/relationships/chart" Target="../charts/chart130.xml"/><Relationship Id="rId15" Type="http://schemas.openxmlformats.org/officeDocument/2006/relationships/chart" Target="../charts/chart131.xml"/><Relationship Id="rId16" Type="http://schemas.openxmlformats.org/officeDocument/2006/relationships/chart" Target="../charts/chart13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4.xml"/><Relationship Id="rId7" Type="http://schemas.openxmlformats.org/officeDocument/2006/relationships/chart" Target="../charts/chart145.xml"/><Relationship Id="rId8" Type="http://schemas.openxmlformats.org/officeDocument/2006/relationships/chart" Target="../charts/chart146.xml"/><Relationship Id="rId9" Type="http://schemas.openxmlformats.org/officeDocument/2006/relationships/chart" Target="../charts/chart147.xml"/><Relationship Id="rId10" Type="http://schemas.openxmlformats.org/officeDocument/2006/relationships/chart" Target="../charts/chart148.xml"/><Relationship Id="rId11" Type="http://schemas.openxmlformats.org/officeDocument/2006/relationships/chart" Target="../charts/chart149.xml"/><Relationship Id="rId12" Type="http://schemas.openxmlformats.org/officeDocument/2006/relationships/chart" Target="../charts/chart150.xml"/><Relationship Id="rId13" Type="http://schemas.openxmlformats.org/officeDocument/2006/relationships/chart" Target="../charts/chart151.xml"/><Relationship Id="rId14" Type="http://schemas.openxmlformats.org/officeDocument/2006/relationships/chart" Target="../charts/chart152.xml"/><Relationship Id="rId15" Type="http://schemas.openxmlformats.org/officeDocument/2006/relationships/chart" Target="../charts/chart153.xml"/><Relationship Id="rId16" Type="http://schemas.openxmlformats.org/officeDocument/2006/relationships/chart" Target="../charts/chart15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5.xml"/><Relationship Id="rId7" Type="http://schemas.openxmlformats.org/officeDocument/2006/relationships/chart" Target="../charts/chart156.xml"/><Relationship Id="rId8" Type="http://schemas.openxmlformats.org/officeDocument/2006/relationships/chart" Target="../charts/chart157.xml"/><Relationship Id="rId9" Type="http://schemas.openxmlformats.org/officeDocument/2006/relationships/chart" Target="../charts/chart158.xml"/><Relationship Id="rId10" Type="http://schemas.openxmlformats.org/officeDocument/2006/relationships/chart" Target="../charts/chart159.xml"/><Relationship Id="rId11" Type="http://schemas.openxmlformats.org/officeDocument/2006/relationships/chart" Target="../charts/chart160.xml"/><Relationship Id="rId12" Type="http://schemas.openxmlformats.org/officeDocument/2006/relationships/chart" Target="../charts/chart161.xml"/><Relationship Id="rId13" Type="http://schemas.openxmlformats.org/officeDocument/2006/relationships/chart" Target="../charts/chart162.xml"/><Relationship Id="rId14" Type="http://schemas.openxmlformats.org/officeDocument/2006/relationships/chart" Target="../charts/chart163.xml"/><Relationship Id="rId15" Type="http://schemas.openxmlformats.org/officeDocument/2006/relationships/chart" Target="../charts/chart164.xml"/><Relationship Id="rId16" Type="http://schemas.openxmlformats.org/officeDocument/2006/relationships/chart" Target="../charts/chart16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6.xml"/><Relationship Id="rId7" Type="http://schemas.openxmlformats.org/officeDocument/2006/relationships/chart" Target="../charts/chart167.xml"/><Relationship Id="rId8" Type="http://schemas.openxmlformats.org/officeDocument/2006/relationships/chart" Target="../charts/chart168.xml"/><Relationship Id="rId9" Type="http://schemas.openxmlformats.org/officeDocument/2006/relationships/chart" Target="../charts/chart169.xml"/><Relationship Id="rId10" Type="http://schemas.openxmlformats.org/officeDocument/2006/relationships/chart" Target="../charts/chart170.xml"/><Relationship Id="rId11" Type="http://schemas.openxmlformats.org/officeDocument/2006/relationships/chart" Target="../charts/chart171.xml"/><Relationship Id="rId12" Type="http://schemas.openxmlformats.org/officeDocument/2006/relationships/chart" Target="../charts/chart172.xml"/><Relationship Id="rId13" Type="http://schemas.openxmlformats.org/officeDocument/2006/relationships/chart" Target="../charts/chart173.xml"/><Relationship Id="rId14" Type="http://schemas.openxmlformats.org/officeDocument/2006/relationships/chart" Target="../charts/chart174.xml"/><Relationship Id="rId15" Type="http://schemas.openxmlformats.org/officeDocument/2006/relationships/chart" Target="../charts/chart175.xml"/><Relationship Id="rId16" Type="http://schemas.openxmlformats.org/officeDocument/2006/relationships/chart" Target="../charts/chart17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 Id="rId7" Type="http://schemas.openxmlformats.org/officeDocument/2006/relationships/chart" Target="../charts/chart178.xml"/><Relationship Id="rId8" Type="http://schemas.openxmlformats.org/officeDocument/2006/relationships/chart" Target="../charts/chart179.xml"/><Relationship Id="rId9" Type="http://schemas.openxmlformats.org/officeDocument/2006/relationships/chart" Target="../charts/chart180.xml"/><Relationship Id="rId10" Type="http://schemas.openxmlformats.org/officeDocument/2006/relationships/chart" Target="../charts/chart181.xml"/><Relationship Id="rId11" Type="http://schemas.openxmlformats.org/officeDocument/2006/relationships/chart" Target="../charts/chart182.xml"/><Relationship Id="rId12" Type="http://schemas.openxmlformats.org/officeDocument/2006/relationships/chart" Target="../charts/chart183.xml"/><Relationship Id="rId13" Type="http://schemas.openxmlformats.org/officeDocument/2006/relationships/chart" Target="../charts/chart184.xml"/><Relationship Id="rId14" Type="http://schemas.openxmlformats.org/officeDocument/2006/relationships/chart" Target="../charts/chart185.xml"/><Relationship Id="rId15" Type="http://schemas.openxmlformats.org/officeDocument/2006/relationships/chart" Target="../charts/chart186.xml"/><Relationship Id="rId16" Type="http://schemas.openxmlformats.org/officeDocument/2006/relationships/chart" Target="../charts/chart18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8.xml"/><Relationship Id="rId7" Type="http://schemas.openxmlformats.org/officeDocument/2006/relationships/chart" Target="../charts/chart189.xml"/><Relationship Id="rId8" Type="http://schemas.openxmlformats.org/officeDocument/2006/relationships/chart" Target="../charts/chart190.xml"/><Relationship Id="rId9" Type="http://schemas.openxmlformats.org/officeDocument/2006/relationships/chart" Target="../charts/chart191.xml"/><Relationship Id="rId10" Type="http://schemas.openxmlformats.org/officeDocument/2006/relationships/chart" Target="../charts/chart192.xml"/><Relationship Id="rId11" Type="http://schemas.openxmlformats.org/officeDocument/2006/relationships/chart" Target="../charts/chart193.xml"/><Relationship Id="rId12" Type="http://schemas.openxmlformats.org/officeDocument/2006/relationships/chart" Target="../charts/chart194.xml"/><Relationship Id="rId13" Type="http://schemas.openxmlformats.org/officeDocument/2006/relationships/chart" Target="../charts/chart195.xml"/><Relationship Id="rId14" Type="http://schemas.openxmlformats.org/officeDocument/2006/relationships/chart" Target="../charts/chart196.xml"/><Relationship Id="rId15" Type="http://schemas.openxmlformats.org/officeDocument/2006/relationships/chart" Target="../charts/chart197.xml"/><Relationship Id="rId16" Type="http://schemas.openxmlformats.org/officeDocument/2006/relationships/chart" Target="../charts/chart19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9.xml"/><Relationship Id="rId7" Type="http://schemas.openxmlformats.org/officeDocument/2006/relationships/chart" Target="../charts/chart200.xml"/><Relationship Id="rId8" Type="http://schemas.openxmlformats.org/officeDocument/2006/relationships/chart" Target="../charts/chart201.xml"/><Relationship Id="rId9" Type="http://schemas.openxmlformats.org/officeDocument/2006/relationships/chart" Target="../charts/chart202.xml"/><Relationship Id="rId10" Type="http://schemas.openxmlformats.org/officeDocument/2006/relationships/chart" Target="../charts/chart203.xml"/><Relationship Id="rId11" Type="http://schemas.openxmlformats.org/officeDocument/2006/relationships/chart" Target="../charts/chart204.xml"/><Relationship Id="rId12" Type="http://schemas.openxmlformats.org/officeDocument/2006/relationships/chart" Target="../charts/chart205.xml"/><Relationship Id="rId13" Type="http://schemas.openxmlformats.org/officeDocument/2006/relationships/chart" Target="../charts/chart206.xml"/><Relationship Id="rId14" Type="http://schemas.openxmlformats.org/officeDocument/2006/relationships/chart" Target="../charts/chart207.xml"/><Relationship Id="rId15" Type="http://schemas.openxmlformats.org/officeDocument/2006/relationships/chart" Target="../charts/chart208.xml"/><Relationship Id="rId16" Type="http://schemas.openxmlformats.org/officeDocument/2006/relationships/chart" Target="../charts/chart20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xml"/><Relationship Id="rId7" Type="http://schemas.openxmlformats.org/officeDocument/2006/relationships/chart" Target="../charts/chart13.xml"/><Relationship Id="rId8" Type="http://schemas.openxmlformats.org/officeDocument/2006/relationships/chart" Target="../charts/chart14.xml"/><Relationship Id="rId9" Type="http://schemas.openxmlformats.org/officeDocument/2006/relationships/chart" Target="../charts/chart15.xml"/><Relationship Id="rId10" Type="http://schemas.openxmlformats.org/officeDocument/2006/relationships/chart" Target="../charts/chart16.xml"/><Relationship Id="rId11" Type="http://schemas.openxmlformats.org/officeDocument/2006/relationships/chart" Target="../charts/chart17.xml"/><Relationship Id="rId12" Type="http://schemas.openxmlformats.org/officeDocument/2006/relationships/chart" Target="../charts/chart18.xml"/><Relationship Id="rId13" Type="http://schemas.openxmlformats.org/officeDocument/2006/relationships/chart" Target="../charts/chart19.xml"/><Relationship Id="rId14" Type="http://schemas.openxmlformats.org/officeDocument/2006/relationships/chart" Target="../charts/chart20.xml"/><Relationship Id="rId15" Type="http://schemas.openxmlformats.org/officeDocument/2006/relationships/chart" Target="../charts/chart21.xml"/><Relationship Id="rId16" Type="http://schemas.openxmlformats.org/officeDocument/2006/relationships/chart" Target="../charts/chart2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0.xml"/><Relationship Id="rId7" Type="http://schemas.openxmlformats.org/officeDocument/2006/relationships/chart" Target="../charts/chart211.xml"/><Relationship Id="rId8" Type="http://schemas.openxmlformats.org/officeDocument/2006/relationships/chart" Target="../charts/chart212.xml"/><Relationship Id="rId9" Type="http://schemas.openxmlformats.org/officeDocument/2006/relationships/chart" Target="../charts/chart213.xml"/><Relationship Id="rId10" Type="http://schemas.openxmlformats.org/officeDocument/2006/relationships/chart" Target="../charts/chart214.xml"/><Relationship Id="rId11" Type="http://schemas.openxmlformats.org/officeDocument/2006/relationships/chart" Target="../charts/chart215.xml"/><Relationship Id="rId12" Type="http://schemas.openxmlformats.org/officeDocument/2006/relationships/chart" Target="../charts/chart216.xml"/><Relationship Id="rId13" Type="http://schemas.openxmlformats.org/officeDocument/2006/relationships/chart" Target="../charts/chart217.xml"/><Relationship Id="rId14" Type="http://schemas.openxmlformats.org/officeDocument/2006/relationships/chart" Target="../charts/chart218.xml"/><Relationship Id="rId15" Type="http://schemas.openxmlformats.org/officeDocument/2006/relationships/chart" Target="../charts/chart219.xml"/><Relationship Id="rId16" Type="http://schemas.openxmlformats.org/officeDocument/2006/relationships/chart" Target="../charts/chart2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1.xml"/><Relationship Id="rId7" Type="http://schemas.openxmlformats.org/officeDocument/2006/relationships/chart" Target="../charts/chart222.xml"/><Relationship Id="rId8" Type="http://schemas.openxmlformats.org/officeDocument/2006/relationships/chart" Target="../charts/chart223.xml"/><Relationship Id="rId9" Type="http://schemas.openxmlformats.org/officeDocument/2006/relationships/chart" Target="../charts/chart224.xml"/><Relationship Id="rId10" Type="http://schemas.openxmlformats.org/officeDocument/2006/relationships/chart" Target="../charts/chart225.xml"/><Relationship Id="rId11" Type="http://schemas.openxmlformats.org/officeDocument/2006/relationships/chart" Target="../charts/chart226.xml"/><Relationship Id="rId12" Type="http://schemas.openxmlformats.org/officeDocument/2006/relationships/chart" Target="../charts/chart227.xml"/><Relationship Id="rId13" Type="http://schemas.openxmlformats.org/officeDocument/2006/relationships/chart" Target="../charts/chart228.xml"/><Relationship Id="rId14" Type="http://schemas.openxmlformats.org/officeDocument/2006/relationships/chart" Target="../charts/chart229.xml"/><Relationship Id="rId15" Type="http://schemas.openxmlformats.org/officeDocument/2006/relationships/chart" Target="../charts/chart230.xml"/><Relationship Id="rId16" Type="http://schemas.openxmlformats.org/officeDocument/2006/relationships/chart" Target="../charts/chart23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2.xml"/><Relationship Id="rId7" Type="http://schemas.openxmlformats.org/officeDocument/2006/relationships/chart" Target="../charts/chart233.xml"/><Relationship Id="rId8" Type="http://schemas.openxmlformats.org/officeDocument/2006/relationships/chart" Target="../charts/chart234.xml"/><Relationship Id="rId9" Type="http://schemas.openxmlformats.org/officeDocument/2006/relationships/chart" Target="../charts/chart235.xml"/><Relationship Id="rId10" Type="http://schemas.openxmlformats.org/officeDocument/2006/relationships/chart" Target="../charts/chart236.xml"/><Relationship Id="rId11" Type="http://schemas.openxmlformats.org/officeDocument/2006/relationships/chart" Target="../charts/chart237.xml"/><Relationship Id="rId12" Type="http://schemas.openxmlformats.org/officeDocument/2006/relationships/chart" Target="../charts/chart238.xml"/><Relationship Id="rId13" Type="http://schemas.openxmlformats.org/officeDocument/2006/relationships/chart" Target="../charts/chart239.xml"/><Relationship Id="rId14" Type="http://schemas.openxmlformats.org/officeDocument/2006/relationships/chart" Target="../charts/chart240.xml"/><Relationship Id="rId15" Type="http://schemas.openxmlformats.org/officeDocument/2006/relationships/chart" Target="../charts/chart241.xml"/><Relationship Id="rId16" Type="http://schemas.openxmlformats.org/officeDocument/2006/relationships/chart" Target="../charts/chart24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3.xml"/><Relationship Id="rId7" Type="http://schemas.openxmlformats.org/officeDocument/2006/relationships/chart" Target="../charts/chart244.xml"/><Relationship Id="rId8" Type="http://schemas.openxmlformats.org/officeDocument/2006/relationships/chart" Target="../charts/chart245.xml"/><Relationship Id="rId9" Type="http://schemas.openxmlformats.org/officeDocument/2006/relationships/chart" Target="../charts/chart246.xml"/><Relationship Id="rId10" Type="http://schemas.openxmlformats.org/officeDocument/2006/relationships/chart" Target="../charts/chart247.xml"/><Relationship Id="rId11" Type="http://schemas.openxmlformats.org/officeDocument/2006/relationships/chart" Target="../charts/chart248.xml"/><Relationship Id="rId12" Type="http://schemas.openxmlformats.org/officeDocument/2006/relationships/chart" Target="../charts/chart249.xml"/><Relationship Id="rId13" Type="http://schemas.openxmlformats.org/officeDocument/2006/relationships/chart" Target="../charts/chart250.xml"/><Relationship Id="rId14" Type="http://schemas.openxmlformats.org/officeDocument/2006/relationships/chart" Target="../charts/chart251.xml"/><Relationship Id="rId15" Type="http://schemas.openxmlformats.org/officeDocument/2006/relationships/chart" Target="../charts/chart252.xml"/><Relationship Id="rId16" Type="http://schemas.openxmlformats.org/officeDocument/2006/relationships/chart" Target="../charts/chart25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4.xml"/><Relationship Id="rId7" Type="http://schemas.openxmlformats.org/officeDocument/2006/relationships/chart" Target="../charts/chart255.xml"/><Relationship Id="rId8" Type="http://schemas.openxmlformats.org/officeDocument/2006/relationships/chart" Target="../charts/chart256.xml"/><Relationship Id="rId9" Type="http://schemas.openxmlformats.org/officeDocument/2006/relationships/chart" Target="../charts/chart257.xml"/><Relationship Id="rId10" Type="http://schemas.openxmlformats.org/officeDocument/2006/relationships/chart" Target="../charts/chart258.xml"/><Relationship Id="rId11" Type="http://schemas.openxmlformats.org/officeDocument/2006/relationships/chart" Target="../charts/chart259.xml"/><Relationship Id="rId12" Type="http://schemas.openxmlformats.org/officeDocument/2006/relationships/chart" Target="../charts/chart260.xml"/><Relationship Id="rId13" Type="http://schemas.openxmlformats.org/officeDocument/2006/relationships/chart" Target="../charts/chart261.xml"/><Relationship Id="rId14" Type="http://schemas.openxmlformats.org/officeDocument/2006/relationships/chart" Target="../charts/chart262.xml"/><Relationship Id="rId15" Type="http://schemas.openxmlformats.org/officeDocument/2006/relationships/chart" Target="../charts/chart263.xml"/><Relationship Id="rId16" Type="http://schemas.openxmlformats.org/officeDocument/2006/relationships/chart" Target="../charts/chart26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6.xml"/><Relationship Id="rId7" Type="http://schemas.openxmlformats.org/officeDocument/2006/relationships/chart" Target="../charts/chart277.xml"/><Relationship Id="rId8" Type="http://schemas.openxmlformats.org/officeDocument/2006/relationships/chart" Target="../charts/chart278.xml"/><Relationship Id="rId9" Type="http://schemas.openxmlformats.org/officeDocument/2006/relationships/chart" Target="../charts/chart279.xml"/><Relationship Id="rId10" Type="http://schemas.openxmlformats.org/officeDocument/2006/relationships/chart" Target="../charts/chart280.xml"/><Relationship Id="rId11" Type="http://schemas.openxmlformats.org/officeDocument/2006/relationships/chart" Target="../charts/chart281.xml"/><Relationship Id="rId12" Type="http://schemas.openxmlformats.org/officeDocument/2006/relationships/chart" Target="../charts/chart282.xml"/><Relationship Id="rId13" Type="http://schemas.openxmlformats.org/officeDocument/2006/relationships/chart" Target="../charts/chart283.xml"/><Relationship Id="rId14" Type="http://schemas.openxmlformats.org/officeDocument/2006/relationships/chart" Target="../charts/chart284.xml"/><Relationship Id="rId15" Type="http://schemas.openxmlformats.org/officeDocument/2006/relationships/chart" Target="../charts/chart285.xml"/><Relationship Id="rId16" Type="http://schemas.openxmlformats.org/officeDocument/2006/relationships/chart" Target="../charts/chart28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7.xml"/><Relationship Id="rId7" Type="http://schemas.openxmlformats.org/officeDocument/2006/relationships/chart" Target="../charts/chart288.xml"/><Relationship Id="rId8" Type="http://schemas.openxmlformats.org/officeDocument/2006/relationships/chart" Target="../charts/chart289.xml"/><Relationship Id="rId9" Type="http://schemas.openxmlformats.org/officeDocument/2006/relationships/chart" Target="../charts/chart290.xml"/><Relationship Id="rId10" Type="http://schemas.openxmlformats.org/officeDocument/2006/relationships/chart" Target="../charts/chart291.xml"/><Relationship Id="rId11" Type="http://schemas.openxmlformats.org/officeDocument/2006/relationships/chart" Target="../charts/chart292.xml"/><Relationship Id="rId12" Type="http://schemas.openxmlformats.org/officeDocument/2006/relationships/chart" Target="../charts/chart293.xml"/><Relationship Id="rId13" Type="http://schemas.openxmlformats.org/officeDocument/2006/relationships/chart" Target="../charts/chart294.xml"/><Relationship Id="rId14" Type="http://schemas.openxmlformats.org/officeDocument/2006/relationships/chart" Target="../charts/chart295.xml"/><Relationship Id="rId15" Type="http://schemas.openxmlformats.org/officeDocument/2006/relationships/chart" Target="../charts/chart296.xml"/><Relationship Id="rId16" Type="http://schemas.openxmlformats.org/officeDocument/2006/relationships/chart" Target="../charts/chart297.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8.xml"/><Relationship Id="rId7" Type="http://schemas.openxmlformats.org/officeDocument/2006/relationships/chart" Target="../charts/chart299.xml"/><Relationship Id="rId8" Type="http://schemas.openxmlformats.org/officeDocument/2006/relationships/chart" Target="../charts/chart300.xml"/><Relationship Id="rId9" Type="http://schemas.openxmlformats.org/officeDocument/2006/relationships/chart" Target="../charts/chart301.xml"/><Relationship Id="rId10" Type="http://schemas.openxmlformats.org/officeDocument/2006/relationships/chart" Target="../charts/chart302.xml"/><Relationship Id="rId11" Type="http://schemas.openxmlformats.org/officeDocument/2006/relationships/chart" Target="../charts/chart303.xml"/><Relationship Id="rId12" Type="http://schemas.openxmlformats.org/officeDocument/2006/relationships/chart" Target="../charts/chart304.xml"/><Relationship Id="rId13" Type="http://schemas.openxmlformats.org/officeDocument/2006/relationships/chart" Target="../charts/chart305.xml"/><Relationship Id="rId14" Type="http://schemas.openxmlformats.org/officeDocument/2006/relationships/chart" Target="../charts/chart306.xml"/><Relationship Id="rId15" Type="http://schemas.openxmlformats.org/officeDocument/2006/relationships/chart" Target="../charts/chart307.xml"/><Relationship Id="rId16" Type="http://schemas.openxmlformats.org/officeDocument/2006/relationships/chart" Target="../charts/chart308.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9.xml"/><Relationship Id="rId7" Type="http://schemas.openxmlformats.org/officeDocument/2006/relationships/chart" Target="../charts/chart310.xml"/><Relationship Id="rId8" Type="http://schemas.openxmlformats.org/officeDocument/2006/relationships/chart" Target="../charts/chart311.xml"/><Relationship Id="rId9" Type="http://schemas.openxmlformats.org/officeDocument/2006/relationships/chart" Target="../charts/chart312.xml"/><Relationship Id="rId10" Type="http://schemas.openxmlformats.org/officeDocument/2006/relationships/chart" Target="../charts/chart313.xml"/><Relationship Id="rId11" Type="http://schemas.openxmlformats.org/officeDocument/2006/relationships/chart" Target="../charts/chart314.xml"/><Relationship Id="rId12" Type="http://schemas.openxmlformats.org/officeDocument/2006/relationships/chart" Target="../charts/chart315.xml"/><Relationship Id="rId13" Type="http://schemas.openxmlformats.org/officeDocument/2006/relationships/chart" Target="../charts/chart316.xml"/><Relationship Id="rId14" Type="http://schemas.openxmlformats.org/officeDocument/2006/relationships/chart" Target="../charts/chart317.xml"/><Relationship Id="rId15" Type="http://schemas.openxmlformats.org/officeDocument/2006/relationships/chart" Target="../charts/chart318.xml"/><Relationship Id="rId16" Type="http://schemas.openxmlformats.org/officeDocument/2006/relationships/chart" Target="../charts/chart31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 Id="rId7" Type="http://schemas.openxmlformats.org/officeDocument/2006/relationships/chart" Target="../charts/chart24.xml"/><Relationship Id="rId8" Type="http://schemas.openxmlformats.org/officeDocument/2006/relationships/chart" Target="../charts/chart25.xml"/><Relationship Id="rId9" Type="http://schemas.openxmlformats.org/officeDocument/2006/relationships/chart" Target="../charts/chart26.xml"/><Relationship Id="rId10" Type="http://schemas.openxmlformats.org/officeDocument/2006/relationships/chart" Target="../charts/chart27.xml"/><Relationship Id="rId11" Type="http://schemas.openxmlformats.org/officeDocument/2006/relationships/chart" Target="../charts/chart28.xml"/><Relationship Id="rId12" Type="http://schemas.openxmlformats.org/officeDocument/2006/relationships/chart" Target="../charts/chart29.xml"/><Relationship Id="rId13" Type="http://schemas.openxmlformats.org/officeDocument/2006/relationships/chart" Target="../charts/chart30.xml"/><Relationship Id="rId14" Type="http://schemas.openxmlformats.org/officeDocument/2006/relationships/chart" Target="../charts/chart31.xml"/><Relationship Id="rId15" Type="http://schemas.openxmlformats.org/officeDocument/2006/relationships/chart" Target="../charts/chart32.xml"/><Relationship Id="rId16" Type="http://schemas.openxmlformats.org/officeDocument/2006/relationships/chart" Target="../charts/chart3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0.xml"/><Relationship Id="rId7" Type="http://schemas.openxmlformats.org/officeDocument/2006/relationships/chart" Target="../charts/chart321.xml"/><Relationship Id="rId8" Type="http://schemas.openxmlformats.org/officeDocument/2006/relationships/chart" Target="../charts/chart322.xml"/><Relationship Id="rId9" Type="http://schemas.openxmlformats.org/officeDocument/2006/relationships/chart" Target="../charts/chart323.xml"/><Relationship Id="rId10" Type="http://schemas.openxmlformats.org/officeDocument/2006/relationships/chart" Target="../charts/chart324.xml"/><Relationship Id="rId11" Type="http://schemas.openxmlformats.org/officeDocument/2006/relationships/chart" Target="../charts/chart325.xml"/><Relationship Id="rId12" Type="http://schemas.openxmlformats.org/officeDocument/2006/relationships/chart" Target="../charts/chart326.xml"/><Relationship Id="rId13" Type="http://schemas.openxmlformats.org/officeDocument/2006/relationships/chart" Target="../charts/chart327.xml"/><Relationship Id="rId14" Type="http://schemas.openxmlformats.org/officeDocument/2006/relationships/chart" Target="../charts/chart328.xml"/><Relationship Id="rId15" Type="http://schemas.openxmlformats.org/officeDocument/2006/relationships/chart" Target="../charts/chart329.xml"/><Relationship Id="rId16" Type="http://schemas.openxmlformats.org/officeDocument/2006/relationships/chart" Target="../charts/chart33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1.xml"/><Relationship Id="rId7" Type="http://schemas.openxmlformats.org/officeDocument/2006/relationships/chart" Target="../charts/chart332.xml"/><Relationship Id="rId8" Type="http://schemas.openxmlformats.org/officeDocument/2006/relationships/chart" Target="../charts/chart333.xml"/><Relationship Id="rId9" Type="http://schemas.openxmlformats.org/officeDocument/2006/relationships/chart" Target="../charts/chart334.xml"/><Relationship Id="rId10" Type="http://schemas.openxmlformats.org/officeDocument/2006/relationships/chart" Target="../charts/chart335.xml"/><Relationship Id="rId11" Type="http://schemas.openxmlformats.org/officeDocument/2006/relationships/chart" Target="../charts/chart336.xml"/><Relationship Id="rId12" Type="http://schemas.openxmlformats.org/officeDocument/2006/relationships/chart" Target="../charts/chart337.xml"/><Relationship Id="rId13" Type="http://schemas.openxmlformats.org/officeDocument/2006/relationships/chart" Target="../charts/chart338.xml"/><Relationship Id="rId14" Type="http://schemas.openxmlformats.org/officeDocument/2006/relationships/chart" Target="../charts/chart339.xml"/><Relationship Id="rId15" Type="http://schemas.openxmlformats.org/officeDocument/2006/relationships/chart" Target="../charts/chart340.xml"/><Relationship Id="rId16" Type="http://schemas.openxmlformats.org/officeDocument/2006/relationships/chart" Target="../charts/chart341.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2.xml"/><Relationship Id="rId7" Type="http://schemas.openxmlformats.org/officeDocument/2006/relationships/chart" Target="../charts/chart343.xml"/><Relationship Id="rId8" Type="http://schemas.openxmlformats.org/officeDocument/2006/relationships/chart" Target="../charts/chart344.xml"/><Relationship Id="rId9" Type="http://schemas.openxmlformats.org/officeDocument/2006/relationships/chart" Target="../charts/chart345.xml"/><Relationship Id="rId10" Type="http://schemas.openxmlformats.org/officeDocument/2006/relationships/chart" Target="../charts/chart346.xml"/><Relationship Id="rId11" Type="http://schemas.openxmlformats.org/officeDocument/2006/relationships/chart" Target="../charts/chart347.xml"/><Relationship Id="rId12" Type="http://schemas.openxmlformats.org/officeDocument/2006/relationships/chart" Target="../charts/chart348.xml"/><Relationship Id="rId13" Type="http://schemas.openxmlformats.org/officeDocument/2006/relationships/chart" Target="../charts/chart349.xml"/><Relationship Id="rId14" Type="http://schemas.openxmlformats.org/officeDocument/2006/relationships/chart" Target="../charts/chart350.xml"/><Relationship Id="rId15" Type="http://schemas.openxmlformats.org/officeDocument/2006/relationships/chart" Target="../charts/chart351.xml"/><Relationship Id="rId16" Type="http://schemas.openxmlformats.org/officeDocument/2006/relationships/chart" Target="../charts/chart352.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3.xml"/><Relationship Id="rId7" Type="http://schemas.openxmlformats.org/officeDocument/2006/relationships/chart" Target="../charts/chart354.xml"/><Relationship Id="rId8" Type="http://schemas.openxmlformats.org/officeDocument/2006/relationships/chart" Target="../charts/chart355.xml"/><Relationship Id="rId9" Type="http://schemas.openxmlformats.org/officeDocument/2006/relationships/chart" Target="../charts/chart356.xml"/><Relationship Id="rId10" Type="http://schemas.openxmlformats.org/officeDocument/2006/relationships/chart" Target="../charts/chart357.xml"/><Relationship Id="rId11" Type="http://schemas.openxmlformats.org/officeDocument/2006/relationships/chart" Target="../charts/chart358.xml"/><Relationship Id="rId12" Type="http://schemas.openxmlformats.org/officeDocument/2006/relationships/chart" Target="../charts/chart359.xml"/><Relationship Id="rId13" Type="http://schemas.openxmlformats.org/officeDocument/2006/relationships/chart" Target="../charts/chart360.xml"/><Relationship Id="rId14" Type="http://schemas.openxmlformats.org/officeDocument/2006/relationships/chart" Target="../charts/chart361.xml"/><Relationship Id="rId15" Type="http://schemas.openxmlformats.org/officeDocument/2006/relationships/chart" Target="../charts/chart362.xml"/><Relationship Id="rId16" Type="http://schemas.openxmlformats.org/officeDocument/2006/relationships/chart" Target="../charts/chart363.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4.xml"/><Relationship Id="rId7" Type="http://schemas.openxmlformats.org/officeDocument/2006/relationships/chart" Target="../charts/chart365.xml"/><Relationship Id="rId8" Type="http://schemas.openxmlformats.org/officeDocument/2006/relationships/chart" Target="../charts/chart366.xml"/><Relationship Id="rId9" Type="http://schemas.openxmlformats.org/officeDocument/2006/relationships/chart" Target="../charts/chart367.xml"/><Relationship Id="rId10" Type="http://schemas.openxmlformats.org/officeDocument/2006/relationships/chart" Target="../charts/chart368.xml"/><Relationship Id="rId11" Type="http://schemas.openxmlformats.org/officeDocument/2006/relationships/chart" Target="../charts/chart369.xml"/><Relationship Id="rId12" Type="http://schemas.openxmlformats.org/officeDocument/2006/relationships/chart" Target="../charts/chart370.xml"/><Relationship Id="rId13" Type="http://schemas.openxmlformats.org/officeDocument/2006/relationships/chart" Target="../charts/chart371.xml"/><Relationship Id="rId14" Type="http://schemas.openxmlformats.org/officeDocument/2006/relationships/chart" Target="../charts/chart372.xml"/><Relationship Id="rId15" Type="http://schemas.openxmlformats.org/officeDocument/2006/relationships/chart" Target="../charts/chart373.xml"/><Relationship Id="rId16" Type="http://schemas.openxmlformats.org/officeDocument/2006/relationships/chart" Target="../charts/chart374.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5.xml"/><Relationship Id="rId7" Type="http://schemas.openxmlformats.org/officeDocument/2006/relationships/chart" Target="../charts/chart376.xml"/><Relationship Id="rId8" Type="http://schemas.openxmlformats.org/officeDocument/2006/relationships/chart" Target="../charts/chart377.xml"/><Relationship Id="rId9" Type="http://schemas.openxmlformats.org/officeDocument/2006/relationships/chart" Target="../charts/chart378.xml"/><Relationship Id="rId10" Type="http://schemas.openxmlformats.org/officeDocument/2006/relationships/chart" Target="../charts/chart379.xml"/><Relationship Id="rId11" Type="http://schemas.openxmlformats.org/officeDocument/2006/relationships/chart" Target="../charts/chart380.xml"/><Relationship Id="rId12" Type="http://schemas.openxmlformats.org/officeDocument/2006/relationships/chart" Target="../charts/chart381.xml"/><Relationship Id="rId13" Type="http://schemas.openxmlformats.org/officeDocument/2006/relationships/chart" Target="../charts/chart382.xml"/><Relationship Id="rId14" Type="http://schemas.openxmlformats.org/officeDocument/2006/relationships/chart" Target="../charts/chart383.xml"/><Relationship Id="rId15" Type="http://schemas.openxmlformats.org/officeDocument/2006/relationships/chart" Target="../charts/chart384.xml"/><Relationship Id="rId16" Type="http://schemas.openxmlformats.org/officeDocument/2006/relationships/chart" Target="../charts/chart385.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6.xml"/><Relationship Id="rId7" Type="http://schemas.openxmlformats.org/officeDocument/2006/relationships/chart" Target="../charts/chart387.xml"/><Relationship Id="rId8" Type="http://schemas.openxmlformats.org/officeDocument/2006/relationships/chart" Target="../charts/chart388.xml"/><Relationship Id="rId9" Type="http://schemas.openxmlformats.org/officeDocument/2006/relationships/chart" Target="../charts/chart389.xml"/><Relationship Id="rId10" Type="http://schemas.openxmlformats.org/officeDocument/2006/relationships/chart" Target="../charts/chart390.xml"/><Relationship Id="rId11" Type="http://schemas.openxmlformats.org/officeDocument/2006/relationships/chart" Target="../charts/chart391.xml"/><Relationship Id="rId12" Type="http://schemas.openxmlformats.org/officeDocument/2006/relationships/chart" Target="../charts/chart392.xml"/><Relationship Id="rId13" Type="http://schemas.openxmlformats.org/officeDocument/2006/relationships/chart" Target="../charts/chart393.xml"/><Relationship Id="rId14" Type="http://schemas.openxmlformats.org/officeDocument/2006/relationships/chart" Target="../charts/chart394.xml"/><Relationship Id="rId15" Type="http://schemas.openxmlformats.org/officeDocument/2006/relationships/chart" Target="../charts/chart395.xml"/><Relationship Id="rId16" Type="http://schemas.openxmlformats.org/officeDocument/2006/relationships/chart" Target="../charts/chart396.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7.xml"/><Relationship Id="rId7" Type="http://schemas.openxmlformats.org/officeDocument/2006/relationships/chart" Target="../charts/chart398.xml"/><Relationship Id="rId8" Type="http://schemas.openxmlformats.org/officeDocument/2006/relationships/chart" Target="../charts/chart399.xml"/><Relationship Id="rId9" Type="http://schemas.openxmlformats.org/officeDocument/2006/relationships/chart" Target="../charts/chart400.xml"/><Relationship Id="rId10" Type="http://schemas.openxmlformats.org/officeDocument/2006/relationships/chart" Target="../charts/chart401.xml"/><Relationship Id="rId11" Type="http://schemas.openxmlformats.org/officeDocument/2006/relationships/chart" Target="../charts/chart402.xml"/><Relationship Id="rId12" Type="http://schemas.openxmlformats.org/officeDocument/2006/relationships/chart" Target="../charts/chart403.xml"/><Relationship Id="rId13" Type="http://schemas.openxmlformats.org/officeDocument/2006/relationships/chart" Target="../charts/chart404.xml"/><Relationship Id="rId14" Type="http://schemas.openxmlformats.org/officeDocument/2006/relationships/chart" Target="../charts/chart405.xml"/><Relationship Id="rId15" Type="http://schemas.openxmlformats.org/officeDocument/2006/relationships/chart" Target="../charts/chart406.xml"/><Relationship Id="rId16" Type="http://schemas.openxmlformats.org/officeDocument/2006/relationships/chart" Target="../charts/chart407.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8.xml"/><Relationship Id="rId7" Type="http://schemas.openxmlformats.org/officeDocument/2006/relationships/chart" Target="../charts/chart409.xml"/><Relationship Id="rId8" Type="http://schemas.openxmlformats.org/officeDocument/2006/relationships/chart" Target="../charts/chart410.xml"/><Relationship Id="rId9" Type="http://schemas.openxmlformats.org/officeDocument/2006/relationships/chart" Target="../charts/chart411.xml"/><Relationship Id="rId10" Type="http://schemas.openxmlformats.org/officeDocument/2006/relationships/chart" Target="../charts/chart412.xml"/><Relationship Id="rId11" Type="http://schemas.openxmlformats.org/officeDocument/2006/relationships/chart" Target="../charts/chart413.xml"/><Relationship Id="rId12" Type="http://schemas.openxmlformats.org/officeDocument/2006/relationships/chart" Target="../charts/chart414.xml"/><Relationship Id="rId13" Type="http://schemas.openxmlformats.org/officeDocument/2006/relationships/chart" Target="../charts/chart415.xml"/><Relationship Id="rId14" Type="http://schemas.openxmlformats.org/officeDocument/2006/relationships/chart" Target="../charts/chart416.xml"/><Relationship Id="rId15" Type="http://schemas.openxmlformats.org/officeDocument/2006/relationships/chart" Target="../charts/chart417.xml"/><Relationship Id="rId16" Type="http://schemas.openxmlformats.org/officeDocument/2006/relationships/chart" Target="../charts/chart418.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9.xml"/><Relationship Id="rId7" Type="http://schemas.openxmlformats.org/officeDocument/2006/relationships/chart" Target="../charts/chart420.xml"/><Relationship Id="rId8" Type="http://schemas.openxmlformats.org/officeDocument/2006/relationships/chart" Target="../charts/chart421.xml"/><Relationship Id="rId9" Type="http://schemas.openxmlformats.org/officeDocument/2006/relationships/chart" Target="../charts/chart422.xml"/><Relationship Id="rId10" Type="http://schemas.openxmlformats.org/officeDocument/2006/relationships/chart" Target="../charts/chart423.xml"/><Relationship Id="rId11" Type="http://schemas.openxmlformats.org/officeDocument/2006/relationships/chart" Target="../charts/chart424.xml"/><Relationship Id="rId12" Type="http://schemas.openxmlformats.org/officeDocument/2006/relationships/chart" Target="../charts/chart425.xml"/><Relationship Id="rId13" Type="http://schemas.openxmlformats.org/officeDocument/2006/relationships/chart" Target="../charts/chart426.xml"/><Relationship Id="rId14" Type="http://schemas.openxmlformats.org/officeDocument/2006/relationships/chart" Target="../charts/chart427.xml"/><Relationship Id="rId15" Type="http://schemas.openxmlformats.org/officeDocument/2006/relationships/chart" Target="../charts/chart428.xml"/><Relationship Id="rId16" Type="http://schemas.openxmlformats.org/officeDocument/2006/relationships/chart" Target="../charts/chart429.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xml"/><Relationship Id="rId7" Type="http://schemas.openxmlformats.org/officeDocument/2006/relationships/chart" Target="../charts/chart35.xml"/><Relationship Id="rId8" Type="http://schemas.openxmlformats.org/officeDocument/2006/relationships/chart" Target="../charts/chart36.xml"/><Relationship Id="rId9" Type="http://schemas.openxmlformats.org/officeDocument/2006/relationships/chart" Target="../charts/chart37.xml"/><Relationship Id="rId10" Type="http://schemas.openxmlformats.org/officeDocument/2006/relationships/chart" Target="../charts/chart38.xml"/><Relationship Id="rId11" Type="http://schemas.openxmlformats.org/officeDocument/2006/relationships/chart" Target="../charts/chart39.xml"/><Relationship Id="rId12" Type="http://schemas.openxmlformats.org/officeDocument/2006/relationships/chart" Target="../charts/chart40.xml"/><Relationship Id="rId13" Type="http://schemas.openxmlformats.org/officeDocument/2006/relationships/chart" Target="../charts/chart41.xml"/><Relationship Id="rId14" Type="http://schemas.openxmlformats.org/officeDocument/2006/relationships/chart" Target="../charts/chart42.xml"/><Relationship Id="rId15" Type="http://schemas.openxmlformats.org/officeDocument/2006/relationships/chart" Target="../charts/chart43.xml"/><Relationship Id="rId16" Type="http://schemas.openxmlformats.org/officeDocument/2006/relationships/chart" Target="../charts/chart4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0.xml"/><Relationship Id="rId7" Type="http://schemas.openxmlformats.org/officeDocument/2006/relationships/chart" Target="../charts/chart431.xml"/><Relationship Id="rId8" Type="http://schemas.openxmlformats.org/officeDocument/2006/relationships/chart" Target="../charts/chart432.xml"/><Relationship Id="rId9" Type="http://schemas.openxmlformats.org/officeDocument/2006/relationships/chart" Target="../charts/chart433.xml"/><Relationship Id="rId10" Type="http://schemas.openxmlformats.org/officeDocument/2006/relationships/chart" Target="../charts/chart434.xml"/><Relationship Id="rId11" Type="http://schemas.openxmlformats.org/officeDocument/2006/relationships/chart" Target="../charts/chart435.xml"/><Relationship Id="rId12" Type="http://schemas.openxmlformats.org/officeDocument/2006/relationships/chart" Target="../charts/chart436.xml"/><Relationship Id="rId13" Type="http://schemas.openxmlformats.org/officeDocument/2006/relationships/chart" Target="../charts/chart437.xml"/><Relationship Id="rId14" Type="http://schemas.openxmlformats.org/officeDocument/2006/relationships/chart" Target="../charts/chart438.xml"/><Relationship Id="rId15" Type="http://schemas.openxmlformats.org/officeDocument/2006/relationships/chart" Target="../charts/chart439.xml"/><Relationship Id="rId16" Type="http://schemas.openxmlformats.org/officeDocument/2006/relationships/chart" Target="../charts/chart44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1.xml"/><Relationship Id="rId7" Type="http://schemas.openxmlformats.org/officeDocument/2006/relationships/chart" Target="../charts/chart442.xml"/><Relationship Id="rId8" Type="http://schemas.openxmlformats.org/officeDocument/2006/relationships/chart" Target="../charts/chart443.xml"/><Relationship Id="rId9" Type="http://schemas.openxmlformats.org/officeDocument/2006/relationships/chart" Target="../charts/chart444.xml"/><Relationship Id="rId10" Type="http://schemas.openxmlformats.org/officeDocument/2006/relationships/chart" Target="../charts/chart445.xml"/><Relationship Id="rId11" Type="http://schemas.openxmlformats.org/officeDocument/2006/relationships/chart" Target="../charts/chart446.xml"/><Relationship Id="rId12" Type="http://schemas.openxmlformats.org/officeDocument/2006/relationships/chart" Target="../charts/chart447.xml"/><Relationship Id="rId13" Type="http://schemas.openxmlformats.org/officeDocument/2006/relationships/chart" Target="../charts/chart448.xml"/><Relationship Id="rId14" Type="http://schemas.openxmlformats.org/officeDocument/2006/relationships/chart" Target="../charts/chart449.xml"/><Relationship Id="rId15" Type="http://schemas.openxmlformats.org/officeDocument/2006/relationships/chart" Target="../charts/chart450.xml"/><Relationship Id="rId16" Type="http://schemas.openxmlformats.org/officeDocument/2006/relationships/chart" Target="../charts/chart451.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2.xml"/><Relationship Id="rId7" Type="http://schemas.openxmlformats.org/officeDocument/2006/relationships/chart" Target="../charts/chart453.xml"/><Relationship Id="rId8" Type="http://schemas.openxmlformats.org/officeDocument/2006/relationships/chart" Target="../charts/chart454.xml"/><Relationship Id="rId9" Type="http://schemas.openxmlformats.org/officeDocument/2006/relationships/chart" Target="../charts/chart455.xml"/><Relationship Id="rId10" Type="http://schemas.openxmlformats.org/officeDocument/2006/relationships/chart" Target="../charts/chart456.xml"/><Relationship Id="rId11" Type="http://schemas.openxmlformats.org/officeDocument/2006/relationships/chart" Target="../charts/chart457.xml"/><Relationship Id="rId12" Type="http://schemas.openxmlformats.org/officeDocument/2006/relationships/chart" Target="../charts/chart458.xml"/><Relationship Id="rId13" Type="http://schemas.openxmlformats.org/officeDocument/2006/relationships/chart" Target="../charts/chart459.xml"/><Relationship Id="rId14" Type="http://schemas.openxmlformats.org/officeDocument/2006/relationships/chart" Target="../charts/chart460.xml"/><Relationship Id="rId15" Type="http://schemas.openxmlformats.org/officeDocument/2006/relationships/chart" Target="../charts/chart461.xml"/><Relationship Id="rId16" Type="http://schemas.openxmlformats.org/officeDocument/2006/relationships/chart" Target="../charts/chart462.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3.xml"/><Relationship Id="rId7" Type="http://schemas.openxmlformats.org/officeDocument/2006/relationships/chart" Target="../charts/chart464.xml"/><Relationship Id="rId8" Type="http://schemas.openxmlformats.org/officeDocument/2006/relationships/chart" Target="../charts/chart465.xml"/><Relationship Id="rId9" Type="http://schemas.openxmlformats.org/officeDocument/2006/relationships/chart" Target="../charts/chart466.xml"/><Relationship Id="rId10" Type="http://schemas.openxmlformats.org/officeDocument/2006/relationships/chart" Target="../charts/chart467.xml"/><Relationship Id="rId11" Type="http://schemas.openxmlformats.org/officeDocument/2006/relationships/chart" Target="../charts/chart468.xml"/><Relationship Id="rId12" Type="http://schemas.openxmlformats.org/officeDocument/2006/relationships/chart" Target="../charts/chart469.xml"/><Relationship Id="rId13" Type="http://schemas.openxmlformats.org/officeDocument/2006/relationships/chart" Target="../charts/chart470.xml"/><Relationship Id="rId14" Type="http://schemas.openxmlformats.org/officeDocument/2006/relationships/chart" Target="../charts/chart471.xml"/><Relationship Id="rId15" Type="http://schemas.openxmlformats.org/officeDocument/2006/relationships/chart" Target="../charts/chart472.xml"/><Relationship Id="rId16" Type="http://schemas.openxmlformats.org/officeDocument/2006/relationships/chart" Target="../charts/chart473.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74.xml"/><Relationship Id="rId7" Type="http://schemas.openxmlformats.org/officeDocument/2006/relationships/chart" Target="../charts/chart475.xml"/><Relationship Id="rId8" Type="http://schemas.openxmlformats.org/officeDocument/2006/relationships/chart" Target="../charts/chart476.xml"/><Relationship Id="rId9" Type="http://schemas.openxmlformats.org/officeDocument/2006/relationships/chart" Target="../charts/chart477.xml"/><Relationship Id="rId10" Type="http://schemas.openxmlformats.org/officeDocument/2006/relationships/chart" Target="../charts/chart478.xml"/><Relationship Id="rId11" Type="http://schemas.openxmlformats.org/officeDocument/2006/relationships/chart" Target="../charts/chart479.xml"/><Relationship Id="rId12" Type="http://schemas.openxmlformats.org/officeDocument/2006/relationships/chart" Target="../charts/chart480.xml"/><Relationship Id="rId13" Type="http://schemas.openxmlformats.org/officeDocument/2006/relationships/chart" Target="../charts/chart481.xml"/><Relationship Id="rId14" Type="http://schemas.openxmlformats.org/officeDocument/2006/relationships/chart" Target="../charts/chart482.xml"/><Relationship Id="rId15" Type="http://schemas.openxmlformats.org/officeDocument/2006/relationships/chart" Target="../charts/chart483.xml"/><Relationship Id="rId16" Type="http://schemas.openxmlformats.org/officeDocument/2006/relationships/chart" Target="../charts/chart484.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5.xml"/><Relationship Id="rId7" Type="http://schemas.openxmlformats.org/officeDocument/2006/relationships/chart" Target="../charts/chart486.xml"/><Relationship Id="rId8" Type="http://schemas.openxmlformats.org/officeDocument/2006/relationships/chart" Target="../charts/chart487.xml"/><Relationship Id="rId9" Type="http://schemas.openxmlformats.org/officeDocument/2006/relationships/chart" Target="../charts/chart488.xml"/><Relationship Id="rId10" Type="http://schemas.openxmlformats.org/officeDocument/2006/relationships/chart" Target="../charts/chart489.xml"/><Relationship Id="rId11" Type="http://schemas.openxmlformats.org/officeDocument/2006/relationships/chart" Target="../charts/chart490.xml"/><Relationship Id="rId12" Type="http://schemas.openxmlformats.org/officeDocument/2006/relationships/chart" Target="../charts/chart491.xml"/><Relationship Id="rId13" Type="http://schemas.openxmlformats.org/officeDocument/2006/relationships/chart" Target="../charts/chart492.xml"/><Relationship Id="rId14" Type="http://schemas.openxmlformats.org/officeDocument/2006/relationships/chart" Target="../charts/chart493.xml"/><Relationship Id="rId15" Type="http://schemas.openxmlformats.org/officeDocument/2006/relationships/chart" Target="../charts/chart494.xml"/><Relationship Id="rId16" Type="http://schemas.openxmlformats.org/officeDocument/2006/relationships/chart" Target="../charts/chart495.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notesSlide" Target="../notesSlides/notesSlide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6.xml"/><Relationship Id="rId7" Type="http://schemas.openxmlformats.org/officeDocument/2006/relationships/chart" Target="../charts/chart497.xml"/><Relationship Id="rId8" Type="http://schemas.openxmlformats.org/officeDocument/2006/relationships/chart" Target="../charts/chart498.xml"/><Relationship Id="rId9" Type="http://schemas.openxmlformats.org/officeDocument/2006/relationships/chart" Target="../charts/chart499.xml"/><Relationship Id="rId10" Type="http://schemas.openxmlformats.org/officeDocument/2006/relationships/chart" Target="../charts/chart500.xml"/><Relationship Id="rId11" Type="http://schemas.openxmlformats.org/officeDocument/2006/relationships/chart" Target="../charts/chart501.xml"/><Relationship Id="rId12" Type="http://schemas.openxmlformats.org/officeDocument/2006/relationships/chart" Target="../charts/chart502.xml"/><Relationship Id="rId13" Type="http://schemas.openxmlformats.org/officeDocument/2006/relationships/chart" Target="../charts/chart503.xml"/><Relationship Id="rId14" Type="http://schemas.openxmlformats.org/officeDocument/2006/relationships/chart" Target="../charts/chart504.xml"/><Relationship Id="rId15" Type="http://schemas.openxmlformats.org/officeDocument/2006/relationships/chart" Target="../charts/chart505.xml"/><Relationship Id="rId16" Type="http://schemas.openxmlformats.org/officeDocument/2006/relationships/chart" Target="../charts/chart506.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notesSlide" Target="../notesSlides/notesSlide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07.xml"/><Relationship Id="rId7" Type="http://schemas.openxmlformats.org/officeDocument/2006/relationships/chart" Target="../charts/chart508.xml"/><Relationship Id="rId8" Type="http://schemas.openxmlformats.org/officeDocument/2006/relationships/chart" Target="../charts/chart509.xml"/><Relationship Id="rId9" Type="http://schemas.openxmlformats.org/officeDocument/2006/relationships/chart" Target="../charts/chart510.xml"/><Relationship Id="rId10" Type="http://schemas.openxmlformats.org/officeDocument/2006/relationships/chart" Target="../charts/chart511.xml"/><Relationship Id="rId11" Type="http://schemas.openxmlformats.org/officeDocument/2006/relationships/chart" Target="../charts/chart512.xml"/><Relationship Id="rId12" Type="http://schemas.openxmlformats.org/officeDocument/2006/relationships/chart" Target="../charts/chart513.xml"/><Relationship Id="rId13" Type="http://schemas.openxmlformats.org/officeDocument/2006/relationships/chart" Target="../charts/chart514.xml"/><Relationship Id="rId14" Type="http://schemas.openxmlformats.org/officeDocument/2006/relationships/chart" Target="../charts/chart515.xml"/><Relationship Id="rId15" Type="http://schemas.openxmlformats.org/officeDocument/2006/relationships/chart" Target="../charts/chart516.xml"/><Relationship Id="rId16" Type="http://schemas.openxmlformats.org/officeDocument/2006/relationships/chart" Target="../charts/chart517.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notesSlide" Target="../notesSlides/notesSlide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18.xml"/><Relationship Id="rId7" Type="http://schemas.openxmlformats.org/officeDocument/2006/relationships/chart" Target="../charts/chart519.xml"/><Relationship Id="rId8" Type="http://schemas.openxmlformats.org/officeDocument/2006/relationships/chart" Target="../charts/chart520.xml"/><Relationship Id="rId9" Type="http://schemas.openxmlformats.org/officeDocument/2006/relationships/chart" Target="../charts/chart521.xml"/><Relationship Id="rId10" Type="http://schemas.openxmlformats.org/officeDocument/2006/relationships/chart" Target="../charts/chart522.xml"/><Relationship Id="rId11" Type="http://schemas.openxmlformats.org/officeDocument/2006/relationships/chart" Target="../charts/chart523.xml"/><Relationship Id="rId12" Type="http://schemas.openxmlformats.org/officeDocument/2006/relationships/chart" Target="../charts/chart524.xml"/><Relationship Id="rId13" Type="http://schemas.openxmlformats.org/officeDocument/2006/relationships/chart" Target="../charts/chart525.xml"/><Relationship Id="rId14" Type="http://schemas.openxmlformats.org/officeDocument/2006/relationships/chart" Target="../charts/chart526.xml"/><Relationship Id="rId15" Type="http://schemas.openxmlformats.org/officeDocument/2006/relationships/chart" Target="../charts/chart527.xml"/><Relationship Id="rId16" Type="http://schemas.openxmlformats.org/officeDocument/2006/relationships/chart" Target="../charts/chart528.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notesSlide" Target="../notesSlides/notesSlide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29.xml"/><Relationship Id="rId7" Type="http://schemas.openxmlformats.org/officeDocument/2006/relationships/chart" Target="../charts/chart530.xml"/><Relationship Id="rId8" Type="http://schemas.openxmlformats.org/officeDocument/2006/relationships/chart" Target="../charts/chart531.xml"/><Relationship Id="rId9" Type="http://schemas.openxmlformats.org/officeDocument/2006/relationships/chart" Target="../charts/chart532.xml"/><Relationship Id="rId10" Type="http://schemas.openxmlformats.org/officeDocument/2006/relationships/chart" Target="../charts/chart533.xml"/><Relationship Id="rId11" Type="http://schemas.openxmlformats.org/officeDocument/2006/relationships/chart" Target="../charts/chart534.xml"/><Relationship Id="rId12" Type="http://schemas.openxmlformats.org/officeDocument/2006/relationships/chart" Target="../charts/chart535.xml"/><Relationship Id="rId13" Type="http://schemas.openxmlformats.org/officeDocument/2006/relationships/chart" Target="../charts/chart536.xml"/><Relationship Id="rId14" Type="http://schemas.openxmlformats.org/officeDocument/2006/relationships/chart" Target="../charts/chart537.xml"/><Relationship Id="rId15" Type="http://schemas.openxmlformats.org/officeDocument/2006/relationships/chart" Target="../charts/chart538.xml"/><Relationship Id="rId16" Type="http://schemas.openxmlformats.org/officeDocument/2006/relationships/chart" Target="../charts/chart539.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xml"/><Relationship Id="rId7" Type="http://schemas.openxmlformats.org/officeDocument/2006/relationships/chart" Target="../charts/chart46.xml"/><Relationship Id="rId8" Type="http://schemas.openxmlformats.org/officeDocument/2006/relationships/chart" Target="../charts/chart47.xml"/><Relationship Id="rId9" Type="http://schemas.openxmlformats.org/officeDocument/2006/relationships/chart" Target="../charts/chart48.xml"/><Relationship Id="rId10" Type="http://schemas.openxmlformats.org/officeDocument/2006/relationships/chart" Target="../charts/chart49.xml"/><Relationship Id="rId11" Type="http://schemas.openxmlformats.org/officeDocument/2006/relationships/chart" Target="../charts/chart50.xml"/><Relationship Id="rId12" Type="http://schemas.openxmlformats.org/officeDocument/2006/relationships/chart" Target="../charts/chart51.xml"/><Relationship Id="rId13" Type="http://schemas.openxmlformats.org/officeDocument/2006/relationships/chart" Target="../charts/chart52.xml"/><Relationship Id="rId14" Type="http://schemas.openxmlformats.org/officeDocument/2006/relationships/chart" Target="../charts/chart53.xml"/><Relationship Id="rId15" Type="http://schemas.openxmlformats.org/officeDocument/2006/relationships/chart" Target="../charts/chart54.xml"/><Relationship Id="rId16" Type="http://schemas.openxmlformats.org/officeDocument/2006/relationships/chart" Target="../charts/chart55.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notesSlide" Target="../notesSlides/notesSlide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40.xml"/><Relationship Id="rId7" Type="http://schemas.openxmlformats.org/officeDocument/2006/relationships/chart" Target="../charts/chart541.xml"/><Relationship Id="rId8" Type="http://schemas.openxmlformats.org/officeDocument/2006/relationships/chart" Target="../charts/chart542.xml"/><Relationship Id="rId9" Type="http://schemas.openxmlformats.org/officeDocument/2006/relationships/chart" Target="../charts/chart543.xml"/><Relationship Id="rId10" Type="http://schemas.openxmlformats.org/officeDocument/2006/relationships/chart" Target="../charts/chart544.xml"/><Relationship Id="rId11" Type="http://schemas.openxmlformats.org/officeDocument/2006/relationships/chart" Target="../charts/chart545.xml"/><Relationship Id="rId12" Type="http://schemas.openxmlformats.org/officeDocument/2006/relationships/chart" Target="../charts/chart546.xml"/><Relationship Id="rId13" Type="http://schemas.openxmlformats.org/officeDocument/2006/relationships/chart" Target="../charts/chart547.xml"/><Relationship Id="rId14" Type="http://schemas.openxmlformats.org/officeDocument/2006/relationships/chart" Target="../charts/chart548.xml"/><Relationship Id="rId15" Type="http://schemas.openxmlformats.org/officeDocument/2006/relationships/chart" Target="../charts/chart549.xml"/><Relationship Id="rId16" Type="http://schemas.openxmlformats.org/officeDocument/2006/relationships/chart" Target="../charts/chart55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notesSlide" Target="../notesSlides/notesSlide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1.xml"/><Relationship Id="rId7" Type="http://schemas.openxmlformats.org/officeDocument/2006/relationships/chart" Target="../charts/chart552.xml"/><Relationship Id="rId8" Type="http://schemas.openxmlformats.org/officeDocument/2006/relationships/chart" Target="../charts/chart553.xml"/><Relationship Id="rId9" Type="http://schemas.openxmlformats.org/officeDocument/2006/relationships/chart" Target="../charts/chart554.xml"/><Relationship Id="rId10" Type="http://schemas.openxmlformats.org/officeDocument/2006/relationships/chart" Target="../charts/chart555.xml"/><Relationship Id="rId11" Type="http://schemas.openxmlformats.org/officeDocument/2006/relationships/chart" Target="../charts/chart556.xml"/><Relationship Id="rId12" Type="http://schemas.openxmlformats.org/officeDocument/2006/relationships/chart" Target="../charts/chart557.xml"/><Relationship Id="rId13" Type="http://schemas.openxmlformats.org/officeDocument/2006/relationships/chart" Target="../charts/chart558.xml"/><Relationship Id="rId14" Type="http://schemas.openxmlformats.org/officeDocument/2006/relationships/chart" Target="../charts/chart559.xml"/><Relationship Id="rId15" Type="http://schemas.openxmlformats.org/officeDocument/2006/relationships/chart" Target="../charts/chart560.xml"/><Relationship Id="rId16" Type="http://schemas.openxmlformats.org/officeDocument/2006/relationships/chart" Target="../charts/chart561.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notesSlide" Target="../notesSlides/notesSlide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2.xml"/><Relationship Id="rId7" Type="http://schemas.openxmlformats.org/officeDocument/2006/relationships/chart" Target="../charts/chart563.xml"/><Relationship Id="rId8" Type="http://schemas.openxmlformats.org/officeDocument/2006/relationships/chart" Target="../charts/chart564.xml"/><Relationship Id="rId9" Type="http://schemas.openxmlformats.org/officeDocument/2006/relationships/chart" Target="../charts/chart565.xml"/><Relationship Id="rId10" Type="http://schemas.openxmlformats.org/officeDocument/2006/relationships/chart" Target="../charts/chart566.xml"/><Relationship Id="rId11" Type="http://schemas.openxmlformats.org/officeDocument/2006/relationships/chart" Target="../charts/chart567.xml"/><Relationship Id="rId12" Type="http://schemas.openxmlformats.org/officeDocument/2006/relationships/chart" Target="../charts/chart568.xml"/><Relationship Id="rId13" Type="http://schemas.openxmlformats.org/officeDocument/2006/relationships/chart" Target="../charts/chart569.xml"/><Relationship Id="rId14" Type="http://schemas.openxmlformats.org/officeDocument/2006/relationships/chart" Target="../charts/chart570.xml"/><Relationship Id="rId15" Type="http://schemas.openxmlformats.org/officeDocument/2006/relationships/chart" Target="../charts/chart571.xml"/><Relationship Id="rId16" Type="http://schemas.openxmlformats.org/officeDocument/2006/relationships/chart" Target="../charts/chart572.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notesSlide" Target="../notesSlides/notesSlide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3.xml"/><Relationship Id="rId7" Type="http://schemas.openxmlformats.org/officeDocument/2006/relationships/chart" Target="../charts/chart574.xml"/><Relationship Id="rId8" Type="http://schemas.openxmlformats.org/officeDocument/2006/relationships/chart" Target="../charts/chart575.xml"/><Relationship Id="rId9" Type="http://schemas.openxmlformats.org/officeDocument/2006/relationships/chart" Target="../charts/chart576.xml"/><Relationship Id="rId10" Type="http://schemas.openxmlformats.org/officeDocument/2006/relationships/chart" Target="../charts/chart577.xml"/><Relationship Id="rId11" Type="http://schemas.openxmlformats.org/officeDocument/2006/relationships/chart" Target="../charts/chart578.xml"/><Relationship Id="rId12" Type="http://schemas.openxmlformats.org/officeDocument/2006/relationships/chart" Target="../charts/chart579.xml"/><Relationship Id="rId13" Type="http://schemas.openxmlformats.org/officeDocument/2006/relationships/chart" Target="../charts/chart580.xml"/><Relationship Id="rId14" Type="http://schemas.openxmlformats.org/officeDocument/2006/relationships/chart" Target="../charts/chart581.xml"/><Relationship Id="rId15" Type="http://schemas.openxmlformats.org/officeDocument/2006/relationships/chart" Target="../charts/chart582.xml"/><Relationship Id="rId16" Type="http://schemas.openxmlformats.org/officeDocument/2006/relationships/chart" Target="../charts/chart583.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notesSlide" Target="../notesSlides/notesSlide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84.xml"/><Relationship Id="rId7" Type="http://schemas.openxmlformats.org/officeDocument/2006/relationships/chart" Target="../charts/chart585.xml"/><Relationship Id="rId8" Type="http://schemas.openxmlformats.org/officeDocument/2006/relationships/chart" Target="../charts/chart586.xml"/><Relationship Id="rId9" Type="http://schemas.openxmlformats.org/officeDocument/2006/relationships/chart" Target="../charts/chart587.xml"/><Relationship Id="rId10" Type="http://schemas.openxmlformats.org/officeDocument/2006/relationships/chart" Target="../charts/chart588.xml"/><Relationship Id="rId11" Type="http://schemas.openxmlformats.org/officeDocument/2006/relationships/chart" Target="../charts/chart589.xml"/><Relationship Id="rId12" Type="http://schemas.openxmlformats.org/officeDocument/2006/relationships/chart" Target="../charts/chart590.xml"/><Relationship Id="rId13" Type="http://schemas.openxmlformats.org/officeDocument/2006/relationships/chart" Target="../charts/chart591.xml"/><Relationship Id="rId14" Type="http://schemas.openxmlformats.org/officeDocument/2006/relationships/chart" Target="../charts/chart592.xml"/><Relationship Id="rId15" Type="http://schemas.openxmlformats.org/officeDocument/2006/relationships/chart" Target="../charts/chart593.xml"/><Relationship Id="rId16" Type="http://schemas.openxmlformats.org/officeDocument/2006/relationships/chart" Target="../charts/chart594.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notesSlide" Target="../notesSlides/notesSlide5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95.xml"/><Relationship Id="rId7" Type="http://schemas.openxmlformats.org/officeDocument/2006/relationships/chart" Target="../charts/chart596.xml"/><Relationship Id="rId8" Type="http://schemas.openxmlformats.org/officeDocument/2006/relationships/chart" Target="../charts/chart597.xml"/><Relationship Id="rId9" Type="http://schemas.openxmlformats.org/officeDocument/2006/relationships/chart" Target="../charts/chart598.xml"/><Relationship Id="rId10" Type="http://schemas.openxmlformats.org/officeDocument/2006/relationships/chart" Target="../charts/chart599.xml"/><Relationship Id="rId11" Type="http://schemas.openxmlformats.org/officeDocument/2006/relationships/chart" Target="../charts/chart600.xml"/><Relationship Id="rId12" Type="http://schemas.openxmlformats.org/officeDocument/2006/relationships/chart" Target="../charts/chart601.xml"/><Relationship Id="rId13" Type="http://schemas.openxmlformats.org/officeDocument/2006/relationships/chart" Target="../charts/chart602.xml"/><Relationship Id="rId14" Type="http://schemas.openxmlformats.org/officeDocument/2006/relationships/chart" Target="../charts/chart603.xml"/><Relationship Id="rId15" Type="http://schemas.openxmlformats.org/officeDocument/2006/relationships/chart" Target="../charts/chart604.xml"/><Relationship Id="rId16" Type="http://schemas.openxmlformats.org/officeDocument/2006/relationships/chart" Target="../charts/chart605.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notesSlide" Target="../notesSlides/notesSlide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06.xml"/><Relationship Id="rId7" Type="http://schemas.openxmlformats.org/officeDocument/2006/relationships/chart" Target="../charts/chart607.xml"/><Relationship Id="rId8" Type="http://schemas.openxmlformats.org/officeDocument/2006/relationships/chart" Target="../charts/chart608.xml"/><Relationship Id="rId9" Type="http://schemas.openxmlformats.org/officeDocument/2006/relationships/chart" Target="../charts/chart609.xml"/><Relationship Id="rId10" Type="http://schemas.openxmlformats.org/officeDocument/2006/relationships/chart" Target="../charts/chart610.xml"/><Relationship Id="rId11" Type="http://schemas.openxmlformats.org/officeDocument/2006/relationships/chart" Target="../charts/chart611.xml"/><Relationship Id="rId12" Type="http://schemas.openxmlformats.org/officeDocument/2006/relationships/chart" Target="../charts/chart612.xml"/><Relationship Id="rId13" Type="http://schemas.openxmlformats.org/officeDocument/2006/relationships/chart" Target="../charts/chart613.xml"/><Relationship Id="rId14" Type="http://schemas.openxmlformats.org/officeDocument/2006/relationships/chart" Target="../charts/chart614.xml"/><Relationship Id="rId15" Type="http://schemas.openxmlformats.org/officeDocument/2006/relationships/chart" Target="../charts/chart615.xml"/><Relationship Id="rId16" Type="http://schemas.openxmlformats.org/officeDocument/2006/relationships/chart" Target="../charts/chart616.xml"/></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notesSlide" Target="../notesSlides/notesSlide5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7.xml"/><Relationship Id="rId7" Type="http://schemas.openxmlformats.org/officeDocument/2006/relationships/chart" Target="../charts/chart618.xml"/><Relationship Id="rId8" Type="http://schemas.openxmlformats.org/officeDocument/2006/relationships/chart" Target="../charts/chart619.xml"/><Relationship Id="rId9" Type="http://schemas.openxmlformats.org/officeDocument/2006/relationships/chart" Target="../charts/chart620.xml"/><Relationship Id="rId10" Type="http://schemas.openxmlformats.org/officeDocument/2006/relationships/chart" Target="../charts/chart621.xml"/><Relationship Id="rId11" Type="http://schemas.openxmlformats.org/officeDocument/2006/relationships/chart" Target="../charts/chart622.xml"/><Relationship Id="rId12" Type="http://schemas.openxmlformats.org/officeDocument/2006/relationships/chart" Target="../charts/chart623.xml"/><Relationship Id="rId13" Type="http://schemas.openxmlformats.org/officeDocument/2006/relationships/chart" Target="../charts/chart624.xml"/><Relationship Id="rId14" Type="http://schemas.openxmlformats.org/officeDocument/2006/relationships/chart" Target="../charts/chart625.xml"/><Relationship Id="rId15" Type="http://schemas.openxmlformats.org/officeDocument/2006/relationships/chart" Target="../charts/chart626.xml"/><Relationship Id="rId16" Type="http://schemas.openxmlformats.org/officeDocument/2006/relationships/chart" Target="../charts/chart627.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notesSlide" Target="../notesSlides/notesSlide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28.xml"/><Relationship Id="rId7" Type="http://schemas.openxmlformats.org/officeDocument/2006/relationships/chart" Target="../charts/chart629.xml"/><Relationship Id="rId8" Type="http://schemas.openxmlformats.org/officeDocument/2006/relationships/chart" Target="../charts/chart630.xml"/><Relationship Id="rId9" Type="http://schemas.openxmlformats.org/officeDocument/2006/relationships/chart" Target="../charts/chart631.xml"/><Relationship Id="rId10" Type="http://schemas.openxmlformats.org/officeDocument/2006/relationships/chart" Target="../charts/chart632.xml"/><Relationship Id="rId11" Type="http://schemas.openxmlformats.org/officeDocument/2006/relationships/chart" Target="../charts/chart633.xml"/><Relationship Id="rId12" Type="http://schemas.openxmlformats.org/officeDocument/2006/relationships/chart" Target="../charts/chart634.xml"/><Relationship Id="rId13" Type="http://schemas.openxmlformats.org/officeDocument/2006/relationships/chart" Target="../charts/chart635.xml"/><Relationship Id="rId14" Type="http://schemas.openxmlformats.org/officeDocument/2006/relationships/chart" Target="../charts/chart636.xml"/><Relationship Id="rId15" Type="http://schemas.openxmlformats.org/officeDocument/2006/relationships/chart" Target="../charts/chart637.xml"/><Relationship Id="rId16" Type="http://schemas.openxmlformats.org/officeDocument/2006/relationships/chart" Target="../charts/chart638.xml"/></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notesSlide" Target="../notesSlides/notesSlide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39.xml"/><Relationship Id="rId7" Type="http://schemas.openxmlformats.org/officeDocument/2006/relationships/chart" Target="../charts/chart640.xml"/><Relationship Id="rId8" Type="http://schemas.openxmlformats.org/officeDocument/2006/relationships/chart" Target="../charts/chart641.xml"/><Relationship Id="rId9" Type="http://schemas.openxmlformats.org/officeDocument/2006/relationships/chart" Target="../charts/chart642.xml"/><Relationship Id="rId10" Type="http://schemas.openxmlformats.org/officeDocument/2006/relationships/chart" Target="../charts/chart643.xml"/><Relationship Id="rId11" Type="http://schemas.openxmlformats.org/officeDocument/2006/relationships/chart" Target="../charts/chart644.xml"/><Relationship Id="rId12" Type="http://schemas.openxmlformats.org/officeDocument/2006/relationships/chart" Target="../charts/chart645.xml"/><Relationship Id="rId13" Type="http://schemas.openxmlformats.org/officeDocument/2006/relationships/chart" Target="../charts/chart646.xml"/><Relationship Id="rId14" Type="http://schemas.openxmlformats.org/officeDocument/2006/relationships/chart" Target="../charts/chart647.xml"/><Relationship Id="rId15" Type="http://schemas.openxmlformats.org/officeDocument/2006/relationships/chart" Target="../charts/chart648.xml"/><Relationship Id="rId16" Type="http://schemas.openxmlformats.org/officeDocument/2006/relationships/chart" Target="../charts/chart649.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xml"/><Relationship Id="rId7" Type="http://schemas.openxmlformats.org/officeDocument/2006/relationships/chart" Target="../charts/chart57.xml"/><Relationship Id="rId8" Type="http://schemas.openxmlformats.org/officeDocument/2006/relationships/chart" Target="../charts/chart58.xml"/><Relationship Id="rId9" Type="http://schemas.openxmlformats.org/officeDocument/2006/relationships/chart" Target="../charts/chart59.xml"/><Relationship Id="rId10" Type="http://schemas.openxmlformats.org/officeDocument/2006/relationships/chart" Target="../charts/chart60.xml"/><Relationship Id="rId11" Type="http://schemas.openxmlformats.org/officeDocument/2006/relationships/chart" Target="../charts/chart61.xml"/><Relationship Id="rId12" Type="http://schemas.openxmlformats.org/officeDocument/2006/relationships/chart" Target="../charts/chart62.xml"/><Relationship Id="rId13" Type="http://schemas.openxmlformats.org/officeDocument/2006/relationships/chart" Target="../charts/chart63.xml"/><Relationship Id="rId14" Type="http://schemas.openxmlformats.org/officeDocument/2006/relationships/chart" Target="../charts/chart64.xml"/><Relationship Id="rId15" Type="http://schemas.openxmlformats.org/officeDocument/2006/relationships/chart" Target="../charts/chart65.xml"/><Relationship Id="rId16" Type="http://schemas.openxmlformats.org/officeDocument/2006/relationships/chart" Target="../charts/chart66.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notesSlide" Target="../notesSlides/notesSlide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50.xml"/><Relationship Id="rId7" Type="http://schemas.openxmlformats.org/officeDocument/2006/relationships/chart" Target="../charts/chart651.xml"/><Relationship Id="rId8" Type="http://schemas.openxmlformats.org/officeDocument/2006/relationships/chart" Target="../charts/chart652.xml"/><Relationship Id="rId9" Type="http://schemas.openxmlformats.org/officeDocument/2006/relationships/chart" Target="../charts/chart653.xml"/><Relationship Id="rId10" Type="http://schemas.openxmlformats.org/officeDocument/2006/relationships/chart" Target="../charts/chart654.xml"/><Relationship Id="rId11" Type="http://schemas.openxmlformats.org/officeDocument/2006/relationships/chart" Target="../charts/chart655.xml"/><Relationship Id="rId12" Type="http://schemas.openxmlformats.org/officeDocument/2006/relationships/chart" Target="../charts/chart656.xml"/><Relationship Id="rId13" Type="http://schemas.openxmlformats.org/officeDocument/2006/relationships/chart" Target="../charts/chart657.xml"/><Relationship Id="rId14" Type="http://schemas.openxmlformats.org/officeDocument/2006/relationships/chart" Target="../charts/chart658.xml"/><Relationship Id="rId15" Type="http://schemas.openxmlformats.org/officeDocument/2006/relationships/chart" Target="../charts/chart659.xml"/><Relationship Id="rId16" Type="http://schemas.openxmlformats.org/officeDocument/2006/relationships/chart" Target="../charts/chart660.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xml"/><Relationship Id="rId7" Type="http://schemas.openxmlformats.org/officeDocument/2006/relationships/chart" Target="../charts/chart68.xml"/><Relationship Id="rId8" Type="http://schemas.openxmlformats.org/officeDocument/2006/relationships/chart" Target="../charts/chart69.xml"/><Relationship Id="rId9" Type="http://schemas.openxmlformats.org/officeDocument/2006/relationships/chart" Target="../charts/chart70.xml"/><Relationship Id="rId10" Type="http://schemas.openxmlformats.org/officeDocument/2006/relationships/chart" Target="../charts/chart71.xml"/><Relationship Id="rId11" Type="http://schemas.openxmlformats.org/officeDocument/2006/relationships/chart" Target="../charts/chart72.xml"/><Relationship Id="rId12" Type="http://schemas.openxmlformats.org/officeDocument/2006/relationships/chart" Target="../charts/chart73.xml"/><Relationship Id="rId13" Type="http://schemas.openxmlformats.org/officeDocument/2006/relationships/chart" Target="../charts/chart74.xml"/><Relationship Id="rId14" Type="http://schemas.openxmlformats.org/officeDocument/2006/relationships/chart" Target="../charts/chart75.xml"/><Relationship Id="rId15" Type="http://schemas.openxmlformats.org/officeDocument/2006/relationships/chart" Target="../charts/chart76.xml"/><Relationship Id="rId16" Type="http://schemas.openxmlformats.org/officeDocument/2006/relationships/chart" Target="../charts/chart77.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8.xml"/><Relationship Id="rId7" Type="http://schemas.openxmlformats.org/officeDocument/2006/relationships/chart" Target="../charts/chart79.xml"/><Relationship Id="rId8" Type="http://schemas.openxmlformats.org/officeDocument/2006/relationships/chart" Target="../charts/chart80.xml"/><Relationship Id="rId9" Type="http://schemas.openxmlformats.org/officeDocument/2006/relationships/chart" Target="../charts/chart81.xml"/><Relationship Id="rId10" Type="http://schemas.openxmlformats.org/officeDocument/2006/relationships/chart" Target="../charts/chart82.xml"/><Relationship Id="rId11" Type="http://schemas.openxmlformats.org/officeDocument/2006/relationships/chart" Target="../charts/chart83.xml"/><Relationship Id="rId12" Type="http://schemas.openxmlformats.org/officeDocument/2006/relationships/chart" Target="../charts/chart84.xml"/><Relationship Id="rId13" Type="http://schemas.openxmlformats.org/officeDocument/2006/relationships/chart" Target="../charts/chart85.xml"/><Relationship Id="rId14" Type="http://schemas.openxmlformats.org/officeDocument/2006/relationships/chart" Target="../charts/chart86.xml"/><Relationship Id="rId15" Type="http://schemas.openxmlformats.org/officeDocument/2006/relationships/chart" Target="../charts/chart87.xml"/><Relationship Id="rId16" Type="http://schemas.openxmlformats.org/officeDocument/2006/relationships/chart" Target="../charts/chart8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 Id="rId7" Type="http://schemas.openxmlformats.org/officeDocument/2006/relationships/chart" Target="../charts/chart90.xml"/><Relationship Id="rId8" Type="http://schemas.openxmlformats.org/officeDocument/2006/relationships/chart" Target="../charts/chart91.xml"/><Relationship Id="rId9" Type="http://schemas.openxmlformats.org/officeDocument/2006/relationships/chart" Target="../charts/chart92.xml"/><Relationship Id="rId10" Type="http://schemas.openxmlformats.org/officeDocument/2006/relationships/chart" Target="../charts/chart93.xml"/><Relationship Id="rId11" Type="http://schemas.openxmlformats.org/officeDocument/2006/relationships/chart" Target="../charts/chart94.xml"/><Relationship Id="rId12" Type="http://schemas.openxmlformats.org/officeDocument/2006/relationships/chart" Target="../charts/chart95.xml"/><Relationship Id="rId13" Type="http://schemas.openxmlformats.org/officeDocument/2006/relationships/chart" Target="../charts/chart96.xml"/><Relationship Id="rId14" Type="http://schemas.openxmlformats.org/officeDocument/2006/relationships/chart" Target="../charts/chart97.xml"/><Relationship Id="rId15" Type="http://schemas.openxmlformats.org/officeDocument/2006/relationships/chart" Target="../charts/chart98.xml"/><Relationship Id="rId16" Type="http://schemas.openxmlformats.org/officeDocument/2006/relationships/chart" Target="../charts/char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NAT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10724835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Autos Scanning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31131038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NAT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3472294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Canal Moderno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36434626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Convenience + Farmacias Cad + Hard Discounters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6262757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Canal Tradic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39256143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Autos Scanning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4927383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9189444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34715133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29848991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11823969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Canal Moderno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23405584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34841331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21946376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20589402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319832938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394703961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324823272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29660249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275817294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382328250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39610196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Convenience + Farmacias Cad + Hard Discounters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139223981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94777161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30960721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332860068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200137440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13888422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332109875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301587085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311878152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359895039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8784452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Canal Tradic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339809677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182304522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184389124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22908313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152034735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260564113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98354313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163062096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280842687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175503521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30259542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Autos Scanning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146039007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122850623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252609115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178393239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74588063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69206598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127555037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309545185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233809622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204530672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19528979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NAT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102502157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13023747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Canal Moderno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33613184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Convenience + Farmacias Cad + Hard Discounters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41275246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Canal Tradic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1/2025</a:t>
            </a:fld>
            <a:endParaRPr lang="en-US" sz="500"/>
          </a:p>
        </p:txBody>
      </p:sp>
    </p:spTree>
    <p:extLst>
      <p:ext uri="{BB962C8B-B14F-4D97-AF65-F5344CB8AC3E}">
        <p14:creationId xmlns:p14="http://schemas.microsoft.com/office/powerpoint/2010/main" val="33600730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9</TotalTime>
  <Words>7980</Words>
  <Application>Microsoft Office PowerPoint</Application>
  <PresentationFormat>On-screen Show (16:9)</PresentationFormat>
  <Paragraphs>2340</Paragraphs>
  <Slides>60</Slides>
  <Notes>60</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60</vt:i4>
      </vt:variant>
    </vt:vector>
  </HeadingPairs>
  <TitlesOfParts>
    <vt:vector size="71"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Raphaella ASHRAF</cp:lastModifiedBy>
  <cp:revision>64</cp:revision>
  <dcterms:created xsi:type="dcterms:W3CDTF">2024-07-05T11:30:58Z</dcterms:created>
  <dcterms:modified xsi:type="dcterms:W3CDTF">2025-07-01T07:39: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